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4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1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3"/>
  </p:notesMasterIdLst>
  <p:sldIdLst>
    <p:sldId id="1722" r:id="rId4"/>
    <p:sldId id="1731" r:id="rId5"/>
    <p:sldId id="1635" r:id="rId6"/>
    <p:sldId id="4580" r:id="rId7"/>
    <p:sldId id="2260" r:id="rId8"/>
    <p:sldId id="4582" r:id="rId9"/>
    <p:sldId id="4585" r:id="rId10"/>
    <p:sldId id="4586" r:id="rId11"/>
    <p:sldId id="4587" r:id="rId12"/>
    <p:sldId id="4588" r:id="rId13"/>
    <p:sldId id="1726" r:id="rId14"/>
    <p:sldId id="1593" r:id="rId15"/>
    <p:sldId id="1728" r:id="rId16"/>
    <p:sldId id="4590" r:id="rId17"/>
    <p:sldId id="4591" r:id="rId18"/>
    <p:sldId id="2263" r:id="rId19"/>
    <p:sldId id="2264" r:id="rId20"/>
    <p:sldId id="2272" r:id="rId21"/>
    <p:sldId id="2274" r:id="rId22"/>
    <p:sldId id="2276" r:id="rId23"/>
    <p:sldId id="4589" r:id="rId24"/>
    <p:sldId id="1479" r:id="rId25"/>
    <p:sldId id="1480" r:id="rId26"/>
    <p:sldId id="2388" r:id="rId27"/>
    <p:sldId id="2389" r:id="rId28"/>
    <p:sldId id="4573" r:id="rId29"/>
    <p:sldId id="4537" r:id="rId30"/>
    <p:sldId id="2390" r:id="rId31"/>
    <p:sldId id="4574" r:id="rId32"/>
    <p:sldId id="4575" r:id="rId33"/>
    <p:sldId id="2391" r:id="rId34"/>
    <p:sldId id="4576" r:id="rId35"/>
    <p:sldId id="4577" r:id="rId36"/>
    <p:sldId id="2392" r:id="rId37"/>
    <p:sldId id="4578" r:id="rId38"/>
    <p:sldId id="4579" r:id="rId39"/>
    <p:sldId id="2397" r:id="rId40"/>
    <p:sldId id="4584" r:id="rId41"/>
    <p:sldId id="4583" r:id="rId42"/>
  </p:sldIdLst>
  <p:sldSz cx="12192000" cy="6858000"/>
  <p:notesSz cx="6858000" cy="9144000"/>
  <p:embeddedFontLst>
    <p:embeddedFont>
      <p:font typeface="Calibri" panose="020F0502020204030204" pitchFamily="34" charset="0"/>
      <p:regular r:id="rId44"/>
      <p:bold r:id="rId45"/>
      <p:italic r:id="rId46"/>
      <p:boldItalic r:id="rId47"/>
    </p:embeddedFont>
    <p:embeddedFont>
      <p:font typeface="Calibri Light" panose="020F0302020204030204" pitchFamily="34" charset="0"/>
      <p:regular r:id="rId48"/>
      <p:italic r:id="rId49"/>
    </p:embeddedFont>
  </p:embeddedFontLst>
  <p:custDataLst>
    <p:tags r:id="rId5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00FF"/>
    <a:srgbClr val="0000FF"/>
    <a:srgbClr val="000000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52" autoAdjust="0"/>
    <p:restoredTop sz="96327" autoAdjust="0"/>
  </p:normalViewPr>
  <p:slideViewPr>
    <p:cSldViewPr snapToGrid="0">
      <p:cViewPr varScale="1">
        <p:scale>
          <a:sx n="68" d="100"/>
          <a:sy n="68" d="100"/>
        </p:scale>
        <p:origin x="966" y="7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5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font" Target="fonts/font4.fntdata"/><Relationship Id="rId50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font" Target="fonts/font2.fntdata"/><Relationship Id="rId53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font" Target="fonts/font1.fntdata"/><Relationship Id="rId52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notesMaster" Target="notesMasters/notesMaster1.xml"/><Relationship Id="rId48" Type="http://schemas.openxmlformats.org/officeDocument/2006/relationships/font" Target="fonts/font5.fntdata"/><Relationship Id="rId8" Type="http://schemas.openxmlformats.org/officeDocument/2006/relationships/slide" Target="slides/slide5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font" Target="fonts/font3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font" Target="fonts/font6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D$1:$KZ$1</c:f>
              <c:strCache>
                <c:ptCount val="309"/>
                <c:pt idx="0">
                  <c:v>22-XII.</c:v>
                </c:pt>
                <c:pt idx="1">
                  <c:v>23-XII.</c:v>
                </c:pt>
                <c:pt idx="2">
                  <c:v>24-XII.</c:v>
                </c:pt>
                <c:pt idx="3">
                  <c:v>25-XII.</c:v>
                </c:pt>
                <c:pt idx="4">
                  <c:v>26-XII.</c:v>
                </c:pt>
                <c:pt idx="5">
                  <c:v>27-XII.</c:v>
                </c:pt>
                <c:pt idx="6">
                  <c:v>28-XII.</c:v>
                </c:pt>
                <c:pt idx="7">
                  <c:v>29-XII.</c:v>
                </c:pt>
                <c:pt idx="8">
                  <c:v>30-XII.</c:v>
                </c:pt>
                <c:pt idx="9">
                  <c:v>31-XII.</c:v>
                </c:pt>
                <c:pt idx="10">
                  <c:v>1-I.</c:v>
                </c:pt>
                <c:pt idx="11">
                  <c:v>2-I.</c:v>
                </c:pt>
                <c:pt idx="12">
                  <c:v>3-I.</c:v>
                </c:pt>
                <c:pt idx="13">
                  <c:v>4-I.</c:v>
                </c:pt>
                <c:pt idx="14">
                  <c:v>5-I.</c:v>
                </c:pt>
                <c:pt idx="15">
                  <c:v>6-I.</c:v>
                </c:pt>
                <c:pt idx="16">
                  <c:v>7-I.</c:v>
                </c:pt>
                <c:pt idx="17">
                  <c:v>8-I.</c:v>
                </c:pt>
                <c:pt idx="18">
                  <c:v>9-I.</c:v>
                </c:pt>
                <c:pt idx="19">
                  <c:v>10-I.</c:v>
                </c:pt>
                <c:pt idx="20">
                  <c:v>11-I.</c:v>
                </c:pt>
                <c:pt idx="21">
                  <c:v>12-I.</c:v>
                </c:pt>
                <c:pt idx="22">
                  <c:v>13-I.</c:v>
                </c:pt>
                <c:pt idx="23">
                  <c:v>14-I.</c:v>
                </c:pt>
                <c:pt idx="24">
                  <c:v>15-I.</c:v>
                </c:pt>
                <c:pt idx="25">
                  <c:v>16-I.</c:v>
                </c:pt>
                <c:pt idx="26">
                  <c:v>17-I.</c:v>
                </c:pt>
                <c:pt idx="27">
                  <c:v>18-I.</c:v>
                </c:pt>
                <c:pt idx="28">
                  <c:v>19-I.</c:v>
                </c:pt>
                <c:pt idx="29">
                  <c:v>20-I.</c:v>
                </c:pt>
                <c:pt idx="30">
                  <c:v>21-I.</c:v>
                </c:pt>
                <c:pt idx="31">
                  <c:v>22-I.</c:v>
                </c:pt>
                <c:pt idx="32">
                  <c:v>23-I.</c:v>
                </c:pt>
                <c:pt idx="33">
                  <c:v>24-I.</c:v>
                </c:pt>
                <c:pt idx="34">
                  <c:v>25-I.</c:v>
                </c:pt>
                <c:pt idx="35">
                  <c:v>26-I.</c:v>
                </c:pt>
                <c:pt idx="36">
                  <c:v>27-I.</c:v>
                </c:pt>
                <c:pt idx="37">
                  <c:v>28-I.</c:v>
                </c:pt>
                <c:pt idx="38">
                  <c:v>29-I.</c:v>
                </c:pt>
                <c:pt idx="39">
                  <c:v>30-I.</c:v>
                </c:pt>
                <c:pt idx="40">
                  <c:v>31-I.</c:v>
                </c:pt>
                <c:pt idx="41">
                  <c:v>1-II.</c:v>
                </c:pt>
                <c:pt idx="42">
                  <c:v>2-II.</c:v>
                </c:pt>
                <c:pt idx="43">
                  <c:v>3-II.</c:v>
                </c:pt>
                <c:pt idx="44">
                  <c:v>4-II.</c:v>
                </c:pt>
                <c:pt idx="45">
                  <c:v>5-II.</c:v>
                </c:pt>
                <c:pt idx="46">
                  <c:v>6-II.</c:v>
                </c:pt>
                <c:pt idx="47">
                  <c:v>7-II.</c:v>
                </c:pt>
                <c:pt idx="48">
                  <c:v>8-II.</c:v>
                </c:pt>
                <c:pt idx="49">
                  <c:v>9-II.</c:v>
                </c:pt>
                <c:pt idx="50">
                  <c:v>10-II.</c:v>
                </c:pt>
                <c:pt idx="51">
                  <c:v>11-II.</c:v>
                </c:pt>
                <c:pt idx="52">
                  <c:v>12-II.</c:v>
                </c:pt>
                <c:pt idx="53">
                  <c:v>13-II.</c:v>
                </c:pt>
                <c:pt idx="54">
                  <c:v>14-II.</c:v>
                </c:pt>
                <c:pt idx="55">
                  <c:v>15-II.</c:v>
                </c:pt>
                <c:pt idx="56">
                  <c:v>16-II.</c:v>
                </c:pt>
                <c:pt idx="57">
                  <c:v>17-II.</c:v>
                </c:pt>
                <c:pt idx="58">
                  <c:v>18-II.</c:v>
                </c:pt>
                <c:pt idx="59">
                  <c:v>19-II.</c:v>
                </c:pt>
                <c:pt idx="60">
                  <c:v>20-II.</c:v>
                </c:pt>
                <c:pt idx="61">
                  <c:v>21-II.</c:v>
                </c:pt>
                <c:pt idx="62">
                  <c:v>22-II.</c:v>
                </c:pt>
                <c:pt idx="63">
                  <c:v>23-II.</c:v>
                </c:pt>
                <c:pt idx="64">
                  <c:v>24-II.</c:v>
                </c:pt>
                <c:pt idx="65">
                  <c:v>25-II.</c:v>
                </c:pt>
                <c:pt idx="66">
                  <c:v>26-II.</c:v>
                </c:pt>
                <c:pt idx="67">
                  <c:v>27-II.</c:v>
                </c:pt>
                <c:pt idx="68">
                  <c:v>28-II.</c:v>
                </c:pt>
                <c:pt idx="69">
                  <c:v>1-III.</c:v>
                </c:pt>
                <c:pt idx="70">
                  <c:v>2-III.</c:v>
                </c:pt>
                <c:pt idx="71">
                  <c:v>3-III.</c:v>
                </c:pt>
                <c:pt idx="72">
                  <c:v>4-III.</c:v>
                </c:pt>
                <c:pt idx="73">
                  <c:v>5-III.</c:v>
                </c:pt>
                <c:pt idx="74">
                  <c:v>6-III.</c:v>
                </c:pt>
                <c:pt idx="75">
                  <c:v>7-III.</c:v>
                </c:pt>
                <c:pt idx="76">
                  <c:v>8-III.</c:v>
                </c:pt>
                <c:pt idx="77">
                  <c:v>9-III.</c:v>
                </c:pt>
                <c:pt idx="78">
                  <c:v>10-III.</c:v>
                </c:pt>
                <c:pt idx="79">
                  <c:v>11-III.</c:v>
                </c:pt>
                <c:pt idx="80">
                  <c:v>12-III.</c:v>
                </c:pt>
                <c:pt idx="81">
                  <c:v>13-III.</c:v>
                </c:pt>
                <c:pt idx="82">
                  <c:v>14-III.</c:v>
                </c:pt>
                <c:pt idx="83">
                  <c:v>15-III.</c:v>
                </c:pt>
                <c:pt idx="84">
                  <c:v>16-III.</c:v>
                </c:pt>
                <c:pt idx="85">
                  <c:v>17-III.</c:v>
                </c:pt>
                <c:pt idx="86">
                  <c:v>18-III.</c:v>
                </c:pt>
                <c:pt idx="87">
                  <c:v>19-III.</c:v>
                </c:pt>
                <c:pt idx="88">
                  <c:v>20-III.</c:v>
                </c:pt>
                <c:pt idx="89">
                  <c:v>21-III.</c:v>
                </c:pt>
                <c:pt idx="90">
                  <c:v>22-III.</c:v>
                </c:pt>
                <c:pt idx="91">
                  <c:v>23-III.</c:v>
                </c:pt>
                <c:pt idx="92">
                  <c:v>24-III.</c:v>
                </c:pt>
                <c:pt idx="93">
                  <c:v>25-III.</c:v>
                </c:pt>
                <c:pt idx="94">
                  <c:v>26-III.</c:v>
                </c:pt>
                <c:pt idx="95">
                  <c:v>27-III.</c:v>
                </c:pt>
                <c:pt idx="96">
                  <c:v>28-III.</c:v>
                </c:pt>
                <c:pt idx="97">
                  <c:v>29-III.</c:v>
                </c:pt>
                <c:pt idx="98">
                  <c:v>30-III.</c:v>
                </c:pt>
                <c:pt idx="99">
                  <c:v>31-III.</c:v>
                </c:pt>
                <c:pt idx="100">
                  <c:v>1-IV.</c:v>
                </c:pt>
                <c:pt idx="101">
                  <c:v>2-IV.</c:v>
                </c:pt>
                <c:pt idx="102">
                  <c:v>3-IV.</c:v>
                </c:pt>
                <c:pt idx="103">
                  <c:v>4-IV.</c:v>
                </c:pt>
                <c:pt idx="104">
                  <c:v>5-IV.</c:v>
                </c:pt>
                <c:pt idx="105">
                  <c:v>6-IV.</c:v>
                </c:pt>
                <c:pt idx="106">
                  <c:v>7-IV.</c:v>
                </c:pt>
                <c:pt idx="107">
                  <c:v>8-IV.</c:v>
                </c:pt>
                <c:pt idx="108">
                  <c:v>9-IV.</c:v>
                </c:pt>
                <c:pt idx="109">
                  <c:v>10-IV.</c:v>
                </c:pt>
                <c:pt idx="110">
                  <c:v>11-IV.</c:v>
                </c:pt>
                <c:pt idx="111">
                  <c:v>12-IV.</c:v>
                </c:pt>
                <c:pt idx="112">
                  <c:v>13-IV.</c:v>
                </c:pt>
                <c:pt idx="113">
                  <c:v>14-IV.</c:v>
                </c:pt>
                <c:pt idx="114">
                  <c:v>15-IV.</c:v>
                </c:pt>
                <c:pt idx="115">
                  <c:v>16-IV.</c:v>
                </c:pt>
                <c:pt idx="116">
                  <c:v>17-IV.</c:v>
                </c:pt>
                <c:pt idx="117">
                  <c:v>18-IV.</c:v>
                </c:pt>
                <c:pt idx="118">
                  <c:v>19-IV.</c:v>
                </c:pt>
                <c:pt idx="119">
                  <c:v>20-IV.</c:v>
                </c:pt>
                <c:pt idx="120">
                  <c:v>21-IV.</c:v>
                </c:pt>
                <c:pt idx="121">
                  <c:v>22-IV.</c:v>
                </c:pt>
                <c:pt idx="122">
                  <c:v>23-IV.</c:v>
                </c:pt>
                <c:pt idx="123">
                  <c:v>24-IV.</c:v>
                </c:pt>
                <c:pt idx="124">
                  <c:v>25-IV.</c:v>
                </c:pt>
                <c:pt idx="125">
                  <c:v>26-IV.</c:v>
                </c:pt>
                <c:pt idx="126">
                  <c:v>27-IV.</c:v>
                </c:pt>
                <c:pt idx="127">
                  <c:v>28-IV.</c:v>
                </c:pt>
                <c:pt idx="128">
                  <c:v>29-IV.</c:v>
                </c:pt>
                <c:pt idx="129">
                  <c:v>30-IV.</c:v>
                </c:pt>
                <c:pt idx="130">
                  <c:v>1-V.</c:v>
                </c:pt>
                <c:pt idx="131">
                  <c:v>2-V.</c:v>
                </c:pt>
                <c:pt idx="132">
                  <c:v>3-V.</c:v>
                </c:pt>
                <c:pt idx="133">
                  <c:v>4-V.</c:v>
                </c:pt>
                <c:pt idx="134">
                  <c:v>5-V.</c:v>
                </c:pt>
                <c:pt idx="135">
                  <c:v>6-V.</c:v>
                </c:pt>
                <c:pt idx="136">
                  <c:v>7-V.</c:v>
                </c:pt>
                <c:pt idx="137">
                  <c:v>8-V.</c:v>
                </c:pt>
                <c:pt idx="138">
                  <c:v>9-V.</c:v>
                </c:pt>
                <c:pt idx="139">
                  <c:v>10-V.</c:v>
                </c:pt>
                <c:pt idx="140">
                  <c:v>11-V.</c:v>
                </c:pt>
                <c:pt idx="141">
                  <c:v>12-V.</c:v>
                </c:pt>
                <c:pt idx="142">
                  <c:v>13-V.</c:v>
                </c:pt>
                <c:pt idx="143">
                  <c:v>14-V.</c:v>
                </c:pt>
                <c:pt idx="144">
                  <c:v>15-V.</c:v>
                </c:pt>
                <c:pt idx="145">
                  <c:v>16-V.</c:v>
                </c:pt>
                <c:pt idx="146">
                  <c:v>17-V.</c:v>
                </c:pt>
                <c:pt idx="147">
                  <c:v>18-V.</c:v>
                </c:pt>
                <c:pt idx="148">
                  <c:v>19-V.</c:v>
                </c:pt>
                <c:pt idx="149">
                  <c:v>20-V.</c:v>
                </c:pt>
                <c:pt idx="150">
                  <c:v>21-V.</c:v>
                </c:pt>
                <c:pt idx="151">
                  <c:v>22-V.</c:v>
                </c:pt>
                <c:pt idx="152">
                  <c:v>23-V.</c:v>
                </c:pt>
                <c:pt idx="153">
                  <c:v>24-V.</c:v>
                </c:pt>
                <c:pt idx="154">
                  <c:v>25-V.</c:v>
                </c:pt>
                <c:pt idx="155">
                  <c:v>26-V.</c:v>
                </c:pt>
                <c:pt idx="156">
                  <c:v>27-V.</c:v>
                </c:pt>
                <c:pt idx="157">
                  <c:v>28-V.</c:v>
                </c:pt>
                <c:pt idx="158">
                  <c:v>29-V.</c:v>
                </c:pt>
                <c:pt idx="159">
                  <c:v>30-V.</c:v>
                </c:pt>
                <c:pt idx="160">
                  <c:v>31-V.</c:v>
                </c:pt>
                <c:pt idx="161">
                  <c:v>1-VI.</c:v>
                </c:pt>
                <c:pt idx="162">
                  <c:v>2-VI.</c:v>
                </c:pt>
                <c:pt idx="163">
                  <c:v>3-VI.</c:v>
                </c:pt>
                <c:pt idx="164">
                  <c:v>4-VI.</c:v>
                </c:pt>
                <c:pt idx="165">
                  <c:v>5-VI.</c:v>
                </c:pt>
                <c:pt idx="166">
                  <c:v>6-VI.</c:v>
                </c:pt>
                <c:pt idx="167">
                  <c:v>7-VI.</c:v>
                </c:pt>
                <c:pt idx="168">
                  <c:v>8-VI.</c:v>
                </c:pt>
                <c:pt idx="169">
                  <c:v>9-VI.</c:v>
                </c:pt>
                <c:pt idx="170">
                  <c:v>10-VI.</c:v>
                </c:pt>
                <c:pt idx="171">
                  <c:v>11-VI.</c:v>
                </c:pt>
                <c:pt idx="172">
                  <c:v>12-VI.</c:v>
                </c:pt>
                <c:pt idx="173">
                  <c:v>13-VI.</c:v>
                </c:pt>
                <c:pt idx="174">
                  <c:v>14-VI.</c:v>
                </c:pt>
                <c:pt idx="175">
                  <c:v>15-VI.</c:v>
                </c:pt>
                <c:pt idx="176">
                  <c:v>16-VI.</c:v>
                </c:pt>
                <c:pt idx="177">
                  <c:v>17-VI.</c:v>
                </c:pt>
                <c:pt idx="178">
                  <c:v>18-VI.</c:v>
                </c:pt>
                <c:pt idx="179">
                  <c:v>19-VI.</c:v>
                </c:pt>
                <c:pt idx="180">
                  <c:v>20-VI.</c:v>
                </c:pt>
                <c:pt idx="181">
                  <c:v>21-VI.</c:v>
                </c:pt>
                <c:pt idx="182">
                  <c:v>22-VI.</c:v>
                </c:pt>
                <c:pt idx="183">
                  <c:v>23-VI.</c:v>
                </c:pt>
                <c:pt idx="184">
                  <c:v>24-VI.</c:v>
                </c:pt>
                <c:pt idx="185">
                  <c:v>25-VI.</c:v>
                </c:pt>
                <c:pt idx="186">
                  <c:v>26-VI.</c:v>
                </c:pt>
                <c:pt idx="187">
                  <c:v>27-VI.</c:v>
                </c:pt>
                <c:pt idx="188">
                  <c:v>28-VI.</c:v>
                </c:pt>
                <c:pt idx="189">
                  <c:v>29-VI.</c:v>
                </c:pt>
                <c:pt idx="190">
                  <c:v>30-VI.</c:v>
                </c:pt>
                <c:pt idx="191">
                  <c:v>1-VII.</c:v>
                </c:pt>
                <c:pt idx="192">
                  <c:v>2-VII.</c:v>
                </c:pt>
                <c:pt idx="193">
                  <c:v>3-VII.</c:v>
                </c:pt>
                <c:pt idx="194">
                  <c:v>4-VII.</c:v>
                </c:pt>
                <c:pt idx="195">
                  <c:v>5-VII.</c:v>
                </c:pt>
                <c:pt idx="196">
                  <c:v>6-VII.</c:v>
                </c:pt>
                <c:pt idx="197">
                  <c:v>7-VII.</c:v>
                </c:pt>
                <c:pt idx="198">
                  <c:v>8-VII.</c:v>
                </c:pt>
                <c:pt idx="199">
                  <c:v>9-VII.</c:v>
                </c:pt>
                <c:pt idx="200">
                  <c:v>10-VII.</c:v>
                </c:pt>
                <c:pt idx="201">
                  <c:v>11-VII.</c:v>
                </c:pt>
                <c:pt idx="202">
                  <c:v>12-VII.</c:v>
                </c:pt>
                <c:pt idx="203">
                  <c:v>13-VII.</c:v>
                </c:pt>
                <c:pt idx="204">
                  <c:v>14-VII.</c:v>
                </c:pt>
                <c:pt idx="205">
                  <c:v>15-VII.</c:v>
                </c:pt>
                <c:pt idx="206">
                  <c:v>16-VII.</c:v>
                </c:pt>
                <c:pt idx="207">
                  <c:v>17-VII.</c:v>
                </c:pt>
                <c:pt idx="208">
                  <c:v>18-VII.</c:v>
                </c:pt>
                <c:pt idx="209">
                  <c:v>19-VII.</c:v>
                </c:pt>
                <c:pt idx="210">
                  <c:v>20-VII.</c:v>
                </c:pt>
                <c:pt idx="211">
                  <c:v>21-VII.</c:v>
                </c:pt>
                <c:pt idx="212">
                  <c:v>22-VII.</c:v>
                </c:pt>
                <c:pt idx="213">
                  <c:v>23-VII.</c:v>
                </c:pt>
                <c:pt idx="214">
                  <c:v>24-VII.</c:v>
                </c:pt>
                <c:pt idx="215">
                  <c:v>25-VII.</c:v>
                </c:pt>
                <c:pt idx="216">
                  <c:v>26-VII.</c:v>
                </c:pt>
                <c:pt idx="217">
                  <c:v>27-VII.</c:v>
                </c:pt>
                <c:pt idx="218">
                  <c:v>28-VII.</c:v>
                </c:pt>
                <c:pt idx="219">
                  <c:v>29-VII.</c:v>
                </c:pt>
                <c:pt idx="220">
                  <c:v>30-VII.</c:v>
                </c:pt>
                <c:pt idx="221">
                  <c:v>31-VII.</c:v>
                </c:pt>
                <c:pt idx="222">
                  <c:v>1-VIII.</c:v>
                </c:pt>
                <c:pt idx="223">
                  <c:v>2-VIII.</c:v>
                </c:pt>
                <c:pt idx="224">
                  <c:v>3-VIII.</c:v>
                </c:pt>
                <c:pt idx="225">
                  <c:v>4-VIII.</c:v>
                </c:pt>
                <c:pt idx="226">
                  <c:v>5-VIII.</c:v>
                </c:pt>
                <c:pt idx="227">
                  <c:v>6-VIII.</c:v>
                </c:pt>
                <c:pt idx="228">
                  <c:v>7-VIII.</c:v>
                </c:pt>
                <c:pt idx="229">
                  <c:v>8-VIII.</c:v>
                </c:pt>
                <c:pt idx="230">
                  <c:v>9-VIII.</c:v>
                </c:pt>
                <c:pt idx="231">
                  <c:v>10-VIII.</c:v>
                </c:pt>
                <c:pt idx="232">
                  <c:v>11-VIII.</c:v>
                </c:pt>
                <c:pt idx="233">
                  <c:v>12-VIII.</c:v>
                </c:pt>
                <c:pt idx="234">
                  <c:v>13-VIII.</c:v>
                </c:pt>
                <c:pt idx="235">
                  <c:v>14-VIII.</c:v>
                </c:pt>
                <c:pt idx="236">
                  <c:v>15-VIII.</c:v>
                </c:pt>
                <c:pt idx="237">
                  <c:v>16-VIII.</c:v>
                </c:pt>
                <c:pt idx="238">
                  <c:v>17-VIII.</c:v>
                </c:pt>
                <c:pt idx="239">
                  <c:v>18-VIII.</c:v>
                </c:pt>
                <c:pt idx="240">
                  <c:v>19-VIII.</c:v>
                </c:pt>
                <c:pt idx="241">
                  <c:v>20-VIII.</c:v>
                </c:pt>
                <c:pt idx="242">
                  <c:v>21-VIII.</c:v>
                </c:pt>
                <c:pt idx="243">
                  <c:v>22-VIII.</c:v>
                </c:pt>
                <c:pt idx="244">
                  <c:v>23-VIII.</c:v>
                </c:pt>
                <c:pt idx="245">
                  <c:v>24-VIII.</c:v>
                </c:pt>
                <c:pt idx="246">
                  <c:v>25-VIII.</c:v>
                </c:pt>
                <c:pt idx="247">
                  <c:v>26-VIII.</c:v>
                </c:pt>
                <c:pt idx="248">
                  <c:v>27-VIII.</c:v>
                </c:pt>
                <c:pt idx="249">
                  <c:v>28-VIII.</c:v>
                </c:pt>
                <c:pt idx="250">
                  <c:v>29-VIII.</c:v>
                </c:pt>
                <c:pt idx="251">
                  <c:v>30-VIII.</c:v>
                </c:pt>
                <c:pt idx="252">
                  <c:v>31-VIII.</c:v>
                </c:pt>
                <c:pt idx="253">
                  <c:v>1-IX.</c:v>
                </c:pt>
                <c:pt idx="254">
                  <c:v>2-IX.</c:v>
                </c:pt>
                <c:pt idx="255">
                  <c:v>3-IX.</c:v>
                </c:pt>
                <c:pt idx="256">
                  <c:v>4-IX.</c:v>
                </c:pt>
                <c:pt idx="257">
                  <c:v>5-IX.</c:v>
                </c:pt>
                <c:pt idx="258">
                  <c:v>6-IX.</c:v>
                </c:pt>
                <c:pt idx="259">
                  <c:v>7-IX.</c:v>
                </c:pt>
                <c:pt idx="260">
                  <c:v>8-IX.</c:v>
                </c:pt>
                <c:pt idx="261">
                  <c:v>9-IX.</c:v>
                </c:pt>
                <c:pt idx="262">
                  <c:v>10-IX.</c:v>
                </c:pt>
                <c:pt idx="263">
                  <c:v>11-IX.</c:v>
                </c:pt>
                <c:pt idx="264">
                  <c:v>12-IX.</c:v>
                </c:pt>
                <c:pt idx="265">
                  <c:v>13-IX.</c:v>
                </c:pt>
                <c:pt idx="266">
                  <c:v>14-IX.</c:v>
                </c:pt>
                <c:pt idx="267">
                  <c:v>15-IX.</c:v>
                </c:pt>
                <c:pt idx="268">
                  <c:v>16-IX.</c:v>
                </c:pt>
                <c:pt idx="269">
                  <c:v>17-IX.</c:v>
                </c:pt>
                <c:pt idx="270">
                  <c:v>18-IX.</c:v>
                </c:pt>
                <c:pt idx="271">
                  <c:v>19-IX.</c:v>
                </c:pt>
                <c:pt idx="272">
                  <c:v>20-IX.</c:v>
                </c:pt>
                <c:pt idx="273">
                  <c:v>21-IX.</c:v>
                </c:pt>
                <c:pt idx="274">
                  <c:v>22-IX.</c:v>
                </c:pt>
                <c:pt idx="275">
                  <c:v>23-IX.</c:v>
                </c:pt>
                <c:pt idx="276">
                  <c:v>24-IX.</c:v>
                </c:pt>
                <c:pt idx="277">
                  <c:v>25-IX.</c:v>
                </c:pt>
                <c:pt idx="278">
                  <c:v>26-IX.</c:v>
                </c:pt>
                <c:pt idx="279">
                  <c:v>27-IX.</c:v>
                </c:pt>
                <c:pt idx="280">
                  <c:v>28-IX.</c:v>
                </c:pt>
                <c:pt idx="281">
                  <c:v>29-IX.</c:v>
                </c:pt>
                <c:pt idx="282">
                  <c:v>30-IX.</c:v>
                </c:pt>
                <c:pt idx="283">
                  <c:v>1-X.</c:v>
                </c:pt>
                <c:pt idx="284">
                  <c:v>2-X.</c:v>
                </c:pt>
                <c:pt idx="285">
                  <c:v>3-X.</c:v>
                </c:pt>
                <c:pt idx="286">
                  <c:v>4-X.</c:v>
                </c:pt>
                <c:pt idx="287">
                  <c:v>5-X.</c:v>
                </c:pt>
                <c:pt idx="288">
                  <c:v>6-X.</c:v>
                </c:pt>
                <c:pt idx="289">
                  <c:v>7-X.</c:v>
                </c:pt>
                <c:pt idx="290">
                  <c:v>8-X.</c:v>
                </c:pt>
                <c:pt idx="291">
                  <c:v>9-X.</c:v>
                </c:pt>
                <c:pt idx="292">
                  <c:v>10-X.</c:v>
                </c:pt>
                <c:pt idx="293">
                  <c:v>11-X.</c:v>
                </c:pt>
                <c:pt idx="294">
                  <c:v>12-X.</c:v>
                </c:pt>
                <c:pt idx="295">
                  <c:v>13-X.</c:v>
                </c:pt>
                <c:pt idx="296">
                  <c:v>14-X.</c:v>
                </c:pt>
                <c:pt idx="297">
                  <c:v>15-X.</c:v>
                </c:pt>
                <c:pt idx="298">
                  <c:v>16-X.</c:v>
                </c:pt>
                <c:pt idx="299">
                  <c:v>17-X.</c:v>
                </c:pt>
                <c:pt idx="300">
                  <c:v>18-X.</c:v>
                </c:pt>
                <c:pt idx="301">
                  <c:v>19-X.</c:v>
                </c:pt>
                <c:pt idx="302">
                  <c:v>20-X.</c:v>
                </c:pt>
                <c:pt idx="303">
                  <c:v>21-X.</c:v>
                </c:pt>
                <c:pt idx="304">
                  <c:v>22-X.</c:v>
                </c:pt>
                <c:pt idx="305">
                  <c:v>23-X.</c:v>
                </c:pt>
                <c:pt idx="306">
                  <c:v>24-X.</c:v>
                </c:pt>
                <c:pt idx="307">
                  <c:v>25-X.</c:v>
                </c:pt>
                <c:pt idx="308">
                  <c:v>26-X.</c:v>
                </c:pt>
              </c:strCache>
            </c:strRef>
          </c:cat>
          <c:val>
            <c:numRef>
              <c:f>List1!$D$2:$KZ$2</c:f>
              <c:numCache>
                <c:formatCode>General</c:formatCode>
                <c:ptCount val="309"/>
                <c:pt idx="5">
                  <c:v>1051</c:v>
                </c:pt>
                <c:pt idx="6">
                  <c:v>2952</c:v>
                </c:pt>
                <c:pt idx="7">
                  <c:v>5619</c:v>
                </c:pt>
                <c:pt idx="8">
                  <c:v>8324</c:v>
                </c:pt>
                <c:pt idx="9">
                  <c:v>9213</c:v>
                </c:pt>
                <c:pt idx="10">
                  <c:v>9448</c:v>
                </c:pt>
                <c:pt idx="11">
                  <c:v>10618</c:v>
                </c:pt>
                <c:pt idx="12">
                  <c:v>11462</c:v>
                </c:pt>
                <c:pt idx="13">
                  <c:v>14636</c:v>
                </c:pt>
                <c:pt idx="14">
                  <c:v>18558</c:v>
                </c:pt>
                <c:pt idx="15">
                  <c:v>23488</c:v>
                </c:pt>
                <c:pt idx="16">
                  <c:v>29323</c:v>
                </c:pt>
                <c:pt idx="17">
                  <c:v>36121</c:v>
                </c:pt>
                <c:pt idx="18">
                  <c:v>37283</c:v>
                </c:pt>
                <c:pt idx="19">
                  <c:v>38236</c:v>
                </c:pt>
                <c:pt idx="20">
                  <c:v>44656</c:v>
                </c:pt>
                <c:pt idx="21">
                  <c:v>52095</c:v>
                </c:pt>
                <c:pt idx="22">
                  <c:v>58696</c:v>
                </c:pt>
                <c:pt idx="23">
                  <c:v>65678</c:v>
                </c:pt>
                <c:pt idx="24">
                  <c:v>71881</c:v>
                </c:pt>
                <c:pt idx="25">
                  <c:v>72816</c:v>
                </c:pt>
                <c:pt idx="26">
                  <c:v>73366</c:v>
                </c:pt>
                <c:pt idx="27">
                  <c:v>78058</c:v>
                </c:pt>
                <c:pt idx="28">
                  <c:v>81870</c:v>
                </c:pt>
                <c:pt idx="29">
                  <c:v>85580</c:v>
                </c:pt>
                <c:pt idx="30">
                  <c:v>88977</c:v>
                </c:pt>
                <c:pt idx="31">
                  <c:v>91863</c:v>
                </c:pt>
                <c:pt idx="32">
                  <c:v>92254</c:v>
                </c:pt>
                <c:pt idx="33">
                  <c:v>92489</c:v>
                </c:pt>
                <c:pt idx="34">
                  <c:v>94093</c:v>
                </c:pt>
                <c:pt idx="35">
                  <c:v>95862</c:v>
                </c:pt>
                <c:pt idx="36">
                  <c:v>97312</c:v>
                </c:pt>
                <c:pt idx="37">
                  <c:v>98697</c:v>
                </c:pt>
                <c:pt idx="38">
                  <c:v>99974</c:v>
                </c:pt>
                <c:pt idx="39">
                  <c:v>100046</c:v>
                </c:pt>
                <c:pt idx="40">
                  <c:v>100117</c:v>
                </c:pt>
                <c:pt idx="41">
                  <c:v>101011</c:v>
                </c:pt>
                <c:pt idx="42">
                  <c:v>101875</c:v>
                </c:pt>
                <c:pt idx="43">
                  <c:v>102692</c:v>
                </c:pt>
                <c:pt idx="44">
                  <c:v>103402</c:v>
                </c:pt>
                <c:pt idx="45">
                  <c:v>104329</c:v>
                </c:pt>
                <c:pt idx="46">
                  <c:v>104380</c:v>
                </c:pt>
                <c:pt idx="47">
                  <c:v>104430</c:v>
                </c:pt>
                <c:pt idx="48">
                  <c:v>105071</c:v>
                </c:pt>
                <c:pt idx="49">
                  <c:v>105727</c:v>
                </c:pt>
                <c:pt idx="50">
                  <c:v>106592</c:v>
                </c:pt>
                <c:pt idx="51">
                  <c:v>107647</c:v>
                </c:pt>
                <c:pt idx="52">
                  <c:v>108848</c:v>
                </c:pt>
                <c:pt idx="53">
                  <c:v>109228</c:v>
                </c:pt>
                <c:pt idx="54">
                  <c:v>109413</c:v>
                </c:pt>
                <c:pt idx="55">
                  <c:v>110736</c:v>
                </c:pt>
                <c:pt idx="56">
                  <c:v>112030</c:v>
                </c:pt>
                <c:pt idx="57">
                  <c:v>113407</c:v>
                </c:pt>
                <c:pt idx="58">
                  <c:v>114975</c:v>
                </c:pt>
                <c:pt idx="59">
                  <c:v>116829</c:v>
                </c:pt>
                <c:pt idx="60">
                  <c:v>117287</c:v>
                </c:pt>
                <c:pt idx="61">
                  <c:v>117448</c:v>
                </c:pt>
                <c:pt idx="62">
                  <c:v>119040</c:v>
                </c:pt>
                <c:pt idx="63">
                  <c:v>121334</c:v>
                </c:pt>
                <c:pt idx="64">
                  <c:v>123835</c:v>
                </c:pt>
                <c:pt idx="65">
                  <c:v>126865</c:v>
                </c:pt>
                <c:pt idx="66">
                  <c:v>129474</c:v>
                </c:pt>
                <c:pt idx="67">
                  <c:v>129784</c:v>
                </c:pt>
                <c:pt idx="68">
                  <c:v>130002</c:v>
                </c:pt>
                <c:pt idx="69">
                  <c:v>132553</c:v>
                </c:pt>
                <c:pt idx="70">
                  <c:v>135315</c:v>
                </c:pt>
                <c:pt idx="71">
                  <c:v>137977</c:v>
                </c:pt>
                <c:pt idx="72">
                  <c:v>140430</c:v>
                </c:pt>
                <c:pt idx="73">
                  <c:v>143398</c:v>
                </c:pt>
                <c:pt idx="74">
                  <c:v>144101</c:v>
                </c:pt>
                <c:pt idx="75">
                  <c:v>144610</c:v>
                </c:pt>
                <c:pt idx="76">
                  <c:v>146560</c:v>
                </c:pt>
                <c:pt idx="77">
                  <c:v>148704</c:v>
                </c:pt>
                <c:pt idx="78">
                  <c:v>150949</c:v>
                </c:pt>
                <c:pt idx="79">
                  <c:v>153951</c:v>
                </c:pt>
                <c:pt idx="80">
                  <c:v>156562</c:v>
                </c:pt>
                <c:pt idx="81">
                  <c:v>157220</c:v>
                </c:pt>
                <c:pt idx="82">
                  <c:v>157788</c:v>
                </c:pt>
                <c:pt idx="83">
                  <c:v>159370</c:v>
                </c:pt>
                <c:pt idx="84">
                  <c:v>161702</c:v>
                </c:pt>
                <c:pt idx="85">
                  <c:v>164019</c:v>
                </c:pt>
                <c:pt idx="86">
                  <c:v>166046</c:v>
                </c:pt>
                <c:pt idx="87">
                  <c:v>168304</c:v>
                </c:pt>
                <c:pt idx="88">
                  <c:v>169180</c:v>
                </c:pt>
                <c:pt idx="89">
                  <c:v>169627</c:v>
                </c:pt>
                <c:pt idx="90">
                  <c:v>170783</c:v>
                </c:pt>
                <c:pt idx="91">
                  <c:v>172022</c:v>
                </c:pt>
                <c:pt idx="92">
                  <c:v>173087</c:v>
                </c:pt>
                <c:pt idx="93">
                  <c:v>174385</c:v>
                </c:pt>
                <c:pt idx="94">
                  <c:v>175760</c:v>
                </c:pt>
                <c:pt idx="95">
                  <c:v>176134</c:v>
                </c:pt>
                <c:pt idx="96">
                  <c:v>176477</c:v>
                </c:pt>
                <c:pt idx="97">
                  <c:v>177261</c:v>
                </c:pt>
                <c:pt idx="98">
                  <c:v>178290</c:v>
                </c:pt>
                <c:pt idx="99">
                  <c:v>179417</c:v>
                </c:pt>
                <c:pt idx="100">
                  <c:v>180518</c:v>
                </c:pt>
                <c:pt idx="101">
                  <c:v>180789</c:v>
                </c:pt>
                <c:pt idx="102">
                  <c:v>180910</c:v>
                </c:pt>
                <c:pt idx="103">
                  <c:v>181026</c:v>
                </c:pt>
                <c:pt idx="104">
                  <c:v>181097</c:v>
                </c:pt>
                <c:pt idx="105">
                  <c:v>181663</c:v>
                </c:pt>
                <c:pt idx="106">
                  <c:v>182335</c:v>
                </c:pt>
                <c:pt idx="107">
                  <c:v>183578</c:v>
                </c:pt>
                <c:pt idx="108">
                  <c:v>184851</c:v>
                </c:pt>
                <c:pt idx="109">
                  <c:v>185227</c:v>
                </c:pt>
                <c:pt idx="110">
                  <c:v>185475</c:v>
                </c:pt>
                <c:pt idx="111">
                  <c:v>186411</c:v>
                </c:pt>
                <c:pt idx="112">
                  <c:v>187221</c:v>
                </c:pt>
                <c:pt idx="113">
                  <c:v>188163</c:v>
                </c:pt>
                <c:pt idx="114">
                  <c:v>189528</c:v>
                </c:pt>
                <c:pt idx="115">
                  <c:v>191074</c:v>
                </c:pt>
                <c:pt idx="116">
                  <c:v>191493</c:v>
                </c:pt>
                <c:pt idx="117">
                  <c:v>191934</c:v>
                </c:pt>
                <c:pt idx="118">
                  <c:v>193032</c:v>
                </c:pt>
                <c:pt idx="119">
                  <c:v>194080</c:v>
                </c:pt>
                <c:pt idx="120">
                  <c:v>195373</c:v>
                </c:pt>
                <c:pt idx="121">
                  <c:v>196845</c:v>
                </c:pt>
                <c:pt idx="122">
                  <c:v>198358</c:v>
                </c:pt>
                <c:pt idx="123">
                  <c:v>198794</c:v>
                </c:pt>
                <c:pt idx="124">
                  <c:v>199168</c:v>
                </c:pt>
                <c:pt idx="125">
                  <c:v>200374</c:v>
                </c:pt>
                <c:pt idx="126">
                  <c:v>201468</c:v>
                </c:pt>
                <c:pt idx="127">
                  <c:v>202852</c:v>
                </c:pt>
                <c:pt idx="128">
                  <c:v>204325</c:v>
                </c:pt>
                <c:pt idx="129">
                  <c:v>205726</c:v>
                </c:pt>
                <c:pt idx="130">
                  <c:v>206063</c:v>
                </c:pt>
                <c:pt idx="131">
                  <c:v>206402</c:v>
                </c:pt>
                <c:pt idx="132">
                  <c:v>207485</c:v>
                </c:pt>
                <c:pt idx="133">
                  <c:v>208587</c:v>
                </c:pt>
                <c:pt idx="134">
                  <c:v>209728</c:v>
                </c:pt>
                <c:pt idx="135">
                  <c:v>210921</c:v>
                </c:pt>
                <c:pt idx="136">
                  <c:v>212223</c:v>
                </c:pt>
                <c:pt idx="137">
                  <c:v>212721</c:v>
                </c:pt>
                <c:pt idx="138">
                  <c:v>213031</c:v>
                </c:pt>
                <c:pt idx="139">
                  <c:v>214002</c:v>
                </c:pt>
                <c:pt idx="140">
                  <c:v>215024</c:v>
                </c:pt>
                <c:pt idx="141">
                  <c:v>216062</c:v>
                </c:pt>
                <c:pt idx="142">
                  <c:v>217195</c:v>
                </c:pt>
                <c:pt idx="143">
                  <c:v>218197</c:v>
                </c:pt>
                <c:pt idx="144">
                  <c:v>218636</c:v>
                </c:pt>
                <c:pt idx="145">
                  <c:v>218921</c:v>
                </c:pt>
                <c:pt idx="146">
                  <c:v>219704</c:v>
                </c:pt>
                <c:pt idx="147">
                  <c:v>220580</c:v>
                </c:pt>
                <c:pt idx="148">
                  <c:v>221480</c:v>
                </c:pt>
                <c:pt idx="149">
                  <c:v>222409</c:v>
                </c:pt>
                <c:pt idx="150">
                  <c:v>223330</c:v>
                </c:pt>
                <c:pt idx="151">
                  <c:v>223681</c:v>
                </c:pt>
                <c:pt idx="152">
                  <c:v>223909</c:v>
                </c:pt>
                <c:pt idx="153">
                  <c:v>224459</c:v>
                </c:pt>
                <c:pt idx="154">
                  <c:v>225084</c:v>
                </c:pt>
                <c:pt idx="155">
                  <c:v>225934</c:v>
                </c:pt>
                <c:pt idx="156">
                  <c:v>226714</c:v>
                </c:pt>
                <c:pt idx="157">
                  <c:v>227534</c:v>
                </c:pt>
                <c:pt idx="158">
                  <c:v>227895</c:v>
                </c:pt>
                <c:pt idx="159">
                  <c:v>228184</c:v>
                </c:pt>
                <c:pt idx="160">
                  <c:v>228872</c:v>
                </c:pt>
                <c:pt idx="161">
                  <c:v>229595</c:v>
                </c:pt>
                <c:pt idx="162">
                  <c:v>230484</c:v>
                </c:pt>
                <c:pt idx="163">
                  <c:v>231321</c:v>
                </c:pt>
                <c:pt idx="164">
                  <c:v>232200</c:v>
                </c:pt>
                <c:pt idx="165">
                  <c:v>232618</c:v>
                </c:pt>
                <c:pt idx="166">
                  <c:v>233018</c:v>
                </c:pt>
                <c:pt idx="167">
                  <c:v>233905</c:v>
                </c:pt>
                <c:pt idx="168">
                  <c:v>234881</c:v>
                </c:pt>
                <c:pt idx="169">
                  <c:v>235795</c:v>
                </c:pt>
                <c:pt idx="170">
                  <c:v>236668</c:v>
                </c:pt>
                <c:pt idx="171">
                  <c:v>237518</c:v>
                </c:pt>
                <c:pt idx="172">
                  <c:v>238038</c:v>
                </c:pt>
                <c:pt idx="173">
                  <c:v>238406</c:v>
                </c:pt>
                <c:pt idx="174">
                  <c:v>239077</c:v>
                </c:pt>
                <c:pt idx="175">
                  <c:v>239827</c:v>
                </c:pt>
                <c:pt idx="176">
                  <c:v>240533</c:v>
                </c:pt>
                <c:pt idx="177">
                  <c:v>241240</c:v>
                </c:pt>
                <c:pt idx="178">
                  <c:v>241908</c:v>
                </c:pt>
                <c:pt idx="179">
                  <c:v>242240</c:v>
                </c:pt>
                <c:pt idx="180">
                  <c:v>242496</c:v>
                </c:pt>
                <c:pt idx="181">
                  <c:v>243005</c:v>
                </c:pt>
                <c:pt idx="182">
                  <c:v>243590</c:v>
                </c:pt>
                <c:pt idx="183">
                  <c:v>244081</c:v>
                </c:pt>
                <c:pt idx="184">
                  <c:v>244581</c:v>
                </c:pt>
                <c:pt idx="185">
                  <c:v>245077</c:v>
                </c:pt>
                <c:pt idx="186">
                  <c:v>245331</c:v>
                </c:pt>
                <c:pt idx="187">
                  <c:v>245518</c:v>
                </c:pt>
                <c:pt idx="188">
                  <c:v>246010</c:v>
                </c:pt>
                <c:pt idx="189">
                  <c:v>246466</c:v>
                </c:pt>
                <c:pt idx="190">
                  <c:v>246941</c:v>
                </c:pt>
                <c:pt idx="191">
                  <c:v>247302</c:v>
                </c:pt>
                <c:pt idx="192">
                  <c:v>247784</c:v>
                </c:pt>
                <c:pt idx="193">
                  <c:v>247882</c:v>
                </c:pt>
                <c:pt idx="194">
                  <c:v>247998</c:v>
                </c:pt>
                <c:pt idx="195">
                  <c:v>248108</c:v>
                </c:pt>
                <c:pt idx="196">
                  <c:v>248206</c:v>
                </c:pt>
                <c:pt idx="197">
                  <c:v>248617</c:v>
                </c:pt>
                <c:pt idx="198">
                  <c:v>249062</c:v>
                </c:pt>
                <c:pt idx="199">
                  <c:v>249502</c:v>
                </c:pt>
                <c:pt idx="200">
                  <c:v>249668</c:v>
                </c:pt>
                <c:pt idx="201">
                  <c:v>249789</c:v>
                </c:pt>
                <c:pt idx="202">
                  <c:v>250234</c:v>
                </c:pt>
                <c:pt idx="203">
                  <c:v>250681</c:v>
                </c:pt>
                <c:pt idx="204">
                  <c:v>251165</c:v>
                </c:pt>
                <c:pt idx="205">
                  <c:v>251656</c:v>
                </c:pt>
                <c:pt idx="206">
                  <c:v>252140</c:v>
                </c:pt>
                <c:pt idx="207">
                  <c:v>252320</c:v>
                </c:pt>
                <c:pt idx="208">
                  <c:v>252466</c:v>
                </c:pt>
                <c:pt idx="209">
                  <c:v>252887</c:v>
                </c:pt>
                <c:pt idx="210">
                  <c:v>253241</c:v>
                </c:pt>
                <c:pt idx="211">
                  <c:v>253706</c:v>
                </c:pt>
                <c:pt idx="212">
                  <c:v>254100</c:v>
                </c:pt>
                <c:pt idx="213">
                  <c:v>254490</c:v>
                </c:pt>
                <c:pt idx="214">
                  <c:v>254602</c:v>
                </c:pt>
                <c:pt idx="215">
                  <c:v>254691</c:v>
                </c:pt>
                <c:pt idx="216">
                  <c:v>255078</c:v>
                </c:pt>
                <c:pt idx="217">
                  <c:v>255499</c:v>
                </c:pt>
                <c:pt idx="218">
                  <c:v>255857</c:v>
                </c:pt>
                <c:pt idx="219">
                  <c:v>256192</c:v>
                </c:pt>
                <c:pt idx="220">
                  <c:v>256608</c:v>
                </c:pt>
                <c:pt idx="221">
                  <c:v>256731</c:v>
                </c:pt>
                <c:pt idx="222">
                  <c:v>256832</c:v>
                </c:pt>
                <c:pt idx="223">
                  <c:v>257113</c:v>
                </c:pt>
                <c:pt idx="224">
                  <c:v>257378</c:v>
                </c:pt>
                <c:pt idx="225">
                  <c:v>257691</c:v>
                </c:pt>
                <c:pt idx="226">
                  <c:v>257955</c:v>
                </c:pt>
                <c:pt idx="227">
                  <c:v>258235</c:v>
                </c:pt>
                <c:pt idx="228">
                  <c:v>258307</c:v>
                </c:pt>
                <c:pt idx="229">
                  <c:v>258371</c:v>
                </c:pt>
                <c:pt idx="230">
                  <c:v>258580</c:v>
                </c:pt>
                <c:pt idx="231">
                  <c:v>258788</c:v>
                </c:pt>
                <c:pt idx="232">
                  <c:v>258951</c:v>
                </c:pt>
                <c:pt idx="233">
                  <c:v>259183</c:v>
                </c:pt>
                <c:pt idx="234">
                  <c:v>259373</c:v>
                </c:pt>
                <c:pt idx="235">
                  <c:v>259429</c:v>
                </c:pt>
                <c:pt idx="236">
                  <c:v>259475</c:v>
                </c:pt>
                <c:pt idx="237">
                  <c:v>259659</c:v>
                </c:pt>
                <c:pt idx="238">
                  <c:v>259841</c:v>
                </c:pt>
                <c:pt idx="239">
                  <c:v>260003</c:v>
                </c:pt>
                <c:pt idx="240">
                  <c:v>260165</c:v>
                </c:pt>
                <c:pt idx="241">
                  <c:v>260409</c:v>
                </c:pt>
                <c:pt idx="242">
                  <c:v>260451</c:v>
                </c:pt>
                <c:pt idx="243">
                  <c:v>260482</c:v>
                </c:pt>
                <c:pt idx="244">
                  <c:v>260680</c:v>
                </c:pt>
                <c:pt idx="245">
                  <c:v>260873</c:v>
                </c:pt>
                <c:pt idx="246">
                  <c:v>261038</c:v>
                </c:pt>
                <c:pt idx="247">
                  <c:v>261197</c:v>
                </c:pt>
                <c:pt idx="248">
                  <c:v>261414</c:v>
                </c:pt>
                <c:pt idx="249">
                  <c:v>261456</c:v>
                </c:pt>
                <c:pt idx="250">
                  <c:v>261489</c:v>
                </c:pt>
                <c:pt idx="251">
                  <c:v>261659</c:v>
                </c:pt>
                <c:pt idx="252">
                  <c:v>261822</c:v>
                </c:pt>
                <c:pt idx="253">
                  <c:v>261943</c:v>
                </c:pt>
                <c:pt idx="254">
                  <c:v>262116</c:v>
                </c:pt>
                <c:pt idx="255">
                  <c:v>262312</c:v>
                </c:pt>
                <c:pt idx="256">
                  <c:v>262347</c:v>
                </c:pt>
                <c:pt idx="257">
                  <c:v>262380</c:v>
                </c:pt>
                <c:pt idx="258">
                  <c:v>262515</c:v>
                </c:pt>
                <c:pt idx="259">
                  <c:v>262602</c:v>
                </c:pt>
                <c:pt idx="260">
                  <c:v>262724</c:v>
                </c:pt>
                <c:pt idx="261">
                  <c:v>262867</c:v>
                </c:pt>
                <c:pt idx="262">
                  <c:v>263011</c:v>
                </c:pt>
                <c:pt idx="263">
                  <c:v>263045</c:v>
                </c:pt>
                <c:pt idx="264">
                  <c:v>263068</c:v>
                </c:pt>
                <c:pt idx="265">
                  <c:v>263179</c:v>
                </c:pt>
                <c:pt idx="266">
                  <c:v>263311</c:v>
                </c:pt>
                <c:pt idx="267">
                  <c:v>263418</c:v>
                </c:pt>
                <c:pt idx="268">
                  <c:v>263538</c:v>
                </c:pt>
                <c:pt idx="269">
                  <c:v>263702</c:v>
                </c:pt>
                <c:pt idx="270">
                  <c:v>263743</c:v>
                </c:pt>
                <c:pt idx="271">
                  <c:v>263754</c:v>
                </c:pt>
                <c:pt idx="272">
                  <c:v>263854</c:v>
                </c:pt>
                <c:pt idx="273">
                  <c:v>263954</c:v>
                </c:pt>
                <c:pt idx="274">
                  <c:v>264046</c:v>
                </c:pt>
                <c:pt idx="275">
                  <c:v>264177</c:v>
                </c:pt>
                <c:pt idx="276">
                  <c:v>264344</c:v>
                </c:pt>
                <c:pt idx="277">
                  <c:v>264375</c:v>
                </c:pt>
                <c:pt idx="278">
                  <c:v>264385</c:v>
                </c:pt>
                <c:pt idx="279">
                  <c:v>264480</c:v>
                </c:pt>
                <c:pt idx="280">
                  <c:v>264486</c:v>
                </c:pt>
                <c:pt idx="281">
                  <c:v>264569</c:v>
                </c:pt>
                <c:pt idx="282">
                  <c:v>264664</c:v>
                </c:pt>
                <c:pt idx="283">
                  <c:v>264751</c:v>
                </c:pt>
                <c:pt idx="284">
                  <c:v>264772</c:v>
                </c:pt>
                <c:pt idx="285">
                  <c:v>264786</c:v>
                </c:pt>
                <c:pt idx="286">
                  <c:v>264848</c:v>
                </c:pt>
                <c:pt idx="287">
                  <c:v>264921</c:v>
                </c:pt>
                <c:pt idx="288">
                  <c:v>265016</c:v>
                </c:pt>
                <c:pt idx="289">
                  <c:v>265082</c:v>
                </c:pt>
                <c:pt idx="290">
                  <c:v>265193</c:v>
                </c:pt>
                <c:pt idx="291">
                  <c:v>265218</c:v>
                </c:pt>
                <c:pt idx="292">
                  <c:v>265229</c:v>
                </c:pt>
                <c:pt idx="293">
                  <c:v>265299</c:v>
                </c:pt>
                <c:pt idx="294">
                  <c:v>265374</c:v>
                </c:pt>
                <c:pt idx="295">
                  <c:v>265445</c:v>
                </c:pt>
                <c:pt idx="296">
                  <c:v>265506</c:v>
                </c:pt>
                <c:pt idx="297">
                  <c:v>265618</c:v>
                </c:pt>
                <c:pt idx="298">
                  <c:v>265648</c:v>
                </c:pt>
                <c:pt idx="299">
                  <c:v>265678</c:v>
                </c:pt>
                <c:pt idx="300">
                  <c:v>265808</c:v>
                </c:pt>
                <c:pt idx="301">
                  <c:v>265896</c:v>
                </c:pt>
                <c:pt idx="302">
                  <c:v>266024</c:v>
                </c:pt>
                <c:pt idx="303">
                  <c:v>266257</c:v>
                </c:pt>
                <c:pt idx="304">
                  <c:v>266555</c:v>
                </c:pt>
                <c:pt idx="305">
                  <c:v>266632</c:v>
                </c:pt>
                <c:pt idx="306">
                  <c:v>266690</c:v>
                </c:pt>
                <c:pt idx="307">
                  <c:v>266931</c:v>
                </c:pt>
                <c:pt idx="308">
                  <c:v>2672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D$1:$KZ$1</c:f>
              <c:strCache>
                <c:ptCount val="309"/>
                <c:pt idx="0">
                  <c:v>22-XII.</c:v>
                </c:pt>
                <c:pt idx="1">
                  <c:v>23-XII.</c:v>
                </c:pt>
                <c:pt idx="2">
                  <c:v>24-XII.</c:v>
                </c:pt>
                <c:pt idx="3">
                  <c:v>25-XII.</c:v>
                </c:pt>
                <c:pt idx="4">
                  <c:v>26-XII.</c:v>
                </c:pt>
                <c:pt idx="5">
                  <c:v>27-XII.</c:v>
                </c:pt>
                <c:pt idx="6">
                  <c:v>28-XII.</c:v>
                </c:pt>
                <c:pt idx="7">
                  <c:v>29-XII.</c:v>
                </c:pt>
                <c:pt idx="8">
                  <c:v>30-XII.</c:v>
                </c:pt>
                <c:pt idx="9">
                  <c:v>31-XII.</c:v>
                </c:pt>
                <c:pt idx="10">
                  <c:v>1-I.</c:v>
                </c:pt>
                <c:pt idx="11">
                  <c:v>2-I.</c:v>
                </c:pt>
                <c:pt idx="12">
                  <c:v>3-I.</c:v>
                </c:pt>
                <c:pt idx="13">
                  <c:v>4-I.</c:v>
                </c:pt>
                <c:pt idx="14">
                  <c:v>5-I.</c:v>
                </c:pt>
                <c:pt idx="15">
                  <c:v>6-I.</c:v>
                </c:pt>
                <c:pt idx="16">
                  <c:v>7-I.</c:v>
                </c:pt>
                <c:pt idx="17">
                  <c:v>8-I.</c:v>
                </c:pt>
                <c:pt idx="18">
                  <c:v>9-I.</c:v>
                </c:pt>
                <c:pt idx="19">
                  <c:v>10-I.</c:v>
                </c:pt>
                <c:pt idx="20">
                  <c:v>11-I.</c:v>
                </c:pt>
                <c:pt idx="21">
                  <c:v>12-I.</c:v>
                </c:pt>
                <c:pt idx="22">
                  <c:v>13-I.</c:v>
                </c:pt>
                <c:pt idx="23">
                  <c:v>14-I.</c:v>
                </c:pt>
                <c:pt idx="24">
                  <c:v>15-I.</c:v>
                </c:pt>
                <c:pt idx="25">
                  <c:v>16-I.</c:v>
                </c:pt>
                <c:pt idx="26">
                  <c:v>17-I.</c:v>
                </c:pt>
                <c:pt idx="27">
                  <c:v>18-I.</c:v>
                </c:pt>
                <c:pt idx="28">
                  <c:v>19-I.</c:v>
                </c:pt>
                <c:pt idx="29">
                  <c:v>20-I.</c:v>
                </c:pt>
                <c:pt idx="30">
                  <c:v>21-I.</c:v>
                </c:pt>
                <c:pt idx="31">
                  <c:v>22-I.</c:v>
                </c:pt>
                <c:pt idx="32">
                  <c:v>23-I.</c:v>
                </c:pt>
                <c:pt idx="33">
                  <c:v>24-I.</c:v>
                </c:pt>
                <c:pt idx="34">
                  <c:v>25-I.</c:v>
                </c:pt>
                <c:pt idx="35">
                  <c:v>26-I.</c:v>
                </c:pt>
                <c:pt idx="36">
                  <c:v>27-I.</c:v>
                </c:pt>
                <c:pt idx="37">
                  <c:v>28-I.</c:v>
                </c:pt>
                <c:pt idx="38">
                  <c:v>29-I.</c:v>
                </c:pt>
                <c:pt idx="39">
                  <c:v>30-I.</c:v>
                </c:pt>
                <c:pt idx="40">
                  <c:v>31-I.</c:v>
                </c:pt>
                <c:pt idx="41">
                  <c:v>1-II.</c:v>
                </c:pt>
                <c:pt idx="42">
                  <c:v>2-II.</c:v>
                </c:pt>
                <c:pt idx="43">
                  <c:v>3-II.</c:v>
                </c:pt>
                <c:pt idx="44">
                  <c:v>4-II.</c:v>
                </c:pt>
                <c:pt idx="45">
                  <c:v>5-II.</c:v>
                </c:pt>
                <c:pt idx="46">
                  <c:v>6-II.</c:v>
                </c:pt>
                <c:pt idx="47">
                  <c:v>7-II.</c:v>
                </c:pt>
                <c:pt idx="48">
                  <c:v>8-II.</c:v>
                </c:pt>
                <c:pt idx="49">
                  <c:v>9-II.</c:v>
                </c:pt>
                <c:pt idx="50">
                  <c:v>10-II.</c:v>
                </c:pt>
                <c:pt idx="51">
                  <c:v>11-II.</c:v>
                </c:pt>
                <c:pt idx="52">
                  <c:v>12-II.</c:v>
                </c:pt>
                <c:pt idx="53">
                  <c:v>13-II.</c:v>
                </c:pt>
                <c:pt idx="54">
                  <c:v>14-II.</c:v>
                </c:pt>
                <c:pt idx="55">
                  <c:v>15-II.</c:v>
                </c:pt>
                <c:pt idx="56">
                  <c:v>16-II.</c:v>
                </c:pt>
                <c:pt idx="57">
                  <c:v>17-II.</c:v>
                </c:pt>
                <c:pt idx="58">
                  <c:v>18-II.</c:v>
                </c:pt>
                <c:pt idx="59">
                  <c:v>19-II.</c:v>
                </c:pt>
                <c:pt idx="60">
                  <c:v>20-II.</c:v>
                </c:pt>
                <c:pt idx="61">
                  <c:v>21-II.</c:v>
                </c:pt>
                <c:pt idx="62">
                  <c:v>22-II.</c:v>
                </c:pt>
                <c:pt idx="63">
                  <c:v>23-II.</c:v>
                </c:pt>
                <c:pt idx="64">
                  <c:v>24-II.</c:v>
                </c:pt>
                <c:pt idx="65">
                  <c:v>25-II.</c:v>
                </c:pt>
                <c:pt idx="66">
                  <c:v>26-II.</c:v>
                </c:pt>
                <c:pt idx="67">
                  <c:v>27-II.</c:v>
                </c:pt>
                <c:pt idx="68">
                  <c:v>28-II.</c:v>
                </c:pt>
                <c:pt idx="69">
                  <c:v>1-III.</c:v>
                </c:pt>
                <c:pt idx="70">
                  <c:v>2-III.</c:v>
                </c:pt>
                <c:pt idx="71">
                  <c:v>3-III.</c:v>
                </c:pt>
                <c:pt idx="72">
                  <c:v>4-III.</c:v>
                </c:pt>
                <c:pt idx="73">
                  <c:v>5-III.</c:v>
                </c:pt>
                <c:pt idx="74">
                  <c:v>6-III.</c:v>
                </c:pt>
                <c:pt idx="75">
                  <c:v>7-III.</c:v>
                </c:pt>
                <c:pt idx="76">
                  <c:v>8-III.</c:v>
                </c:pt>
                <c:pt idx="77">
                  <c:v>9-III.</c:v>
                </c:pt>
                <c:pt idx="78">
                  <c:v>10-III.</c:v>
                </c:pt>
                <c:pt idx="79">
                  <c:v>11-III.</c:v>
                </c:pt>
                <c:pt idx="80">
                  <c:v>12-III.</c:v>
                </c:pt>
                <c:pt idx="81">
                  <c:v>13-III.</c:v>
                </c:pt>
                <c:pt idx="82">
                  <c:v>14-III.</c:v>
                </c:pt>
                <c:pt idx="83">
                  <c:v>15-III.</c:v>
                </c:pt>
                <c:pt idx="84">
                  <c:v>16-III.</c:v>
                </c:pt>
                <c:pt idx="85">
                  <c:v>17-III.</c:v>
                </c:pt>
                <c:pt idx="86">
                  <c:v>18-III.</c:v>
                </c:pt>
                <c:pt idx="87">
                  <c:v>19-III.</c:v>
                </c:pt>
                <c:pt idx="88">
                  <c:v>20-III.</c:v>
                </c:pt>
                <c:pt idx="89">
                  <c:v>21-III.</c:v>
                </c:pt>
                <c:pt idx="90">
                  <c:v>22-III.</c:v>
                </c:pt>
                <c:pt idx="91">
                  <c:v>23-III.</c:v>
                </c:pt>
                <c:pt idx="92">
                  <c:v>24-III.</c:v>
                </c:pt>
                <c:pt idx="93">
                  <c:v>25-III.</c:v>
                </c:pt>
                <c:pt idx="94">
                  <c:v>26-III.</c:v>
                </c:pt>
                <c:pt idx="95">
                  <c:v>27-III.</c:v>
                </c:pt>
                <c:pt idx="96">
                  <c:v>28-III.</c:v>
                </c:pt>
                <c:pt idx="97">
                  <c:v>29-III.</c:v>
                </c:pt>
                <c:pt idx="98">
                  <c:v>30-III.</c:v>
                </c:pt>
                <c:pt idx="99">
                  <c:v>31-III.</c:v>
                </c:pt>
                <c:pt idx="100">
                  <c:v>1-IV.</c:v>
                </c:pt>
                <c:pt idx="101">
                  <c:v>2-IV.</c:v>
                </c:pt>
                <c:pt idx="102">
                  <c:v>3-IV.</c:v>
                </c:pt>
                <c:pt idx="103">
                  <c:v>4-IV.</c:v>
                </c:pt>
                <c:pt idx="104">
                  <c:v>5-IV.</c:v>
                </c:pt>
                <c:pt idx="105">
                  <c:v>6-IV.</c:v>
                </c:pt>
                <c:pt idx="106">
                  <c:v>7-IV.</c:v>
                </c:pt>
                <c:pt idx="107">
                  <c:v>8-IV.</c:v>
                </c:pt>
                <c:pt idx="108">
                  <c:v>9-IV.</c:v>
                </c:pt>
                <c:pt idx="109">
                  <c:v>10-IV.</c:v>
                </c:pt>
                <c:pt idx="110">
                  <c:v>11-IV.</c:v>
                </c:pt>
                <c:pt idx="111">
                  <c:v>12-IV.</c:v>
                </c:pt>
                <c:pt idx="112">
                  <c:v>13-IV.</c:v>
                </c:pt>
                <c:pt idx="113">
                  <c:v>14-IV.</c:v>
                </c:pt>
                <c:pt idx="114">
                  <c:v>15-IV.</c:v>
                </c:pt>
                <c:pt idx="115">
                  <c:v>16-IV.</c:v>
                </c:pt>
                <c:pt idx="116">
                  <c:v>17-IV.</c:v>
                </c:pt>
                <c:pt idx="117">
                  <c:v>18-IV.</c:v>
                </c:pt>
                <c:pt idx="118">
                  <c:v>19-IV.</c:v>
                </c:pt>
                <c:pt idx="119">
                  <c:v>20-IV.</c:v>
                </c:pt>
                <c:pt idx="120">
                  <c:v>21-IV.</c:v>
                </c:pt>
                <c:pt idx="121">
                  <c:v>22-IV.</c:v>
                </c:pt>
                <c:pt idx="122">
                  <c:v>23-IV.</c:v>
                </c:pt>
                <c:pt idx="123">
                  <c:v>24-IV.</c:v>
                </c:pt>
                <c:pt idx="124">
                  <c:v>25-IV.</c:v>
                </c:pt>
                <c:pt idx="125">
                  <c:v>26-IV.</c:v>
                </c:pt>
                <c:pt idx="126">
                  <c:v>27-IV.</c:v>
                </c:pt>
                <c:pt idx="127">
                  <c:v>28-IV.</c:v>
                </c:pt>
                <c:pt idx="128">
                  <c:v>29-IV.</c:v>
                </c:pt>
                <c:pt idx="129">
                  <c:v>30-IV.</c:v>
                </c:pt>
                <c:pt idx="130">
                  <c:v>1-V.</c:v>
                </c:pt>
                <c:pt idx="131">
                  <c:v>2-V.</c:v>
                </c:pt>
                <c:pt idx="132">
                  <c:v>3-V.</c:v>
                </c:pt>
                <c:pt idx="133">
                  <c:v>4-V.</c:v>
                </c:pt>
                <c:pt idx="134">
                  <c:v>5-V.</c:v>
                </c:pt>
                <c:pt idx="135">
                  <c:v>6-V.</c:v>
                </c:pt>
                <c:pt idx="136">
                  <c:v>7-V.</c:v>
                </c:pt>
                <c:pt idx="137">
                  <c:v>8-V.</c:v>
                </c:pt>
                <c:pt idx="138">
                  <c:v>9-V.</c:v>
                </c:pt>
                <c:pt idx="139">
                  <c:v>10-V.</c:v>
                </c:pt>
                <c:pt idx="140">
                  <c:v>11-V.</c:v>
                </c:pt>
                <c:pt idx="141">
                  <c:v>12-V.</c:v>
                </c:pt>
                <c:pt idx="142">
                  <c:v>13-V.</c:v>
                </c:pt>
                <c:pt idx="143">
                  <c:v>14-V.</c:v>
                </c:pt>
                <c:pt idx="144">
                  <c:v>15-V.</c:v>
                </c:pt>
                <c:pt idx="145">
                  <c:v>16-V.</c:v>
                </c:pt>
                <c:pt idx="146">
                  <c:v>17-V.</c:v>
                </c:pt>
                <c:pt idx="147">
                  <c:v>18-V.</c:v>
                </c:pt>
                <c:pt idx="148">
                  <c:v>19-V.</c:v>
                </c:pt>
                <c:pt idx="149">
                  <c:v>20-V.</c:v>
                </c:pt>
                <c:pt idx="150">
                  <c:v>21-V.</c:v>
                </c:pt>
                <c:pt idx="151">
                  <c:v>22-V.</c:v>
                </c:pt>
                <c:pt idx="152">
                  <c:v>23-V.</c:v>
                </c:pt>
                <c:pt idx="153">
                  <c:v>24-V.</c:v>
                </c:pt>
                <c:pt idx="154">
                  <c:v>25-V.</c:v>
                </c:pt>
                <c:pt idx="155">
                  <c:v>26-V.</c:v>
                </c:pt>
                <c:pt idx="156">
                  <c:v>27-V.</c:v>
                </c:pt>
                <c:pt idx="157">
                  <c:v>28-V.</c:v>
                </c:pt>
                <c:pt idx="158">
                  <c:v>29-V.</c:v>
                </c:pt>
                <c:pt idx="159">
                  <c:v>30-V.</c:v>
                </c:pt>
                <c:pt idx="160">
                  <c:v>31-V.</c:v>
                </c:pt>
                <c:pt idx="161">
                  <c:v>1-VI.</c:v>
                </c:pt>
                <c:pt idx="162">
                  <c:v>2-VI.</c:v>
                </c:pt>
                <c:pt idx="163">
                  <c:v>3-VI.</c:v>
                </c:pt>
                <c:pt idx="164">
                  <c:v>4-VI.</c:v>
                </c:pt>
                <c:pt idx="165">
                  <c:v>5-VI.</c:v>
                </c:pt>
                <c:pt idx="166">
                  <c:v>6-VI.</c:v>
                </c:pt>
                <c:pt idx="167">
                  <c:v>7-VI.</c:v>
                </c:pt>
                <c:pt idx="168">
                  <c:v>8-VI.</c:v>
                </c:pt>
                <c:pt idx="169">
                  <c:v>9-VI.</c:v>
                </c:pt>
                <c:pt idx="170">
                  <c:v>10-VI.</c:v>
                </c:pt>
                <c:pt idx="171">
                  <c:v>11-VI.</c:v>
                </c:pt>
                <c:pt idx="172">
                  <c:v>12-VI.</c:v>
                </c:pt>
                <c:pt idx="173">
                  <c:v>13-VI.</c:v>
                </c:pt>
                <c:pt idx="174">
                  <c:v>14-VI.</c:v>
                </c:pt>
                <c:pt idx="175">
                  <c:v>15-VI.</c:v>
                </c:pt>
                <c:pt idx="176">
                  <c:v>16-VI.</c:v>
                </c:pt>
                <c:pt idx="177">
                  <c:v>17-VI.</c:v>
                </c:pt>
                <c:pt idx="178">
                  <c:v>18-VI.</c:v>
                </c:pt>
                <c:pt idx="179">
                  <c:v>19-VI.</c:v>
                </c:pt>
                <c:pt idx="180">
                  <c:v>20-VI.</c:v>
                </c:pt>
                <c:pt idx="181">
                  <c:v>21-VI.</c:v>
                </c:pt>
                <c:pt idx="182">
                  <c:v>22-VI.</c:v>
                </c:pt>
                <c:pt idx="183">
                  <c:v>23-VI.</c:v>
                </c:pt>
                <c:pt idx="184">
                  <c:v>24-VI.</c:v>
                </c:pt>
                <c:pt idx="185">
                  <c:v>25-VI.</c:v>
                </c:pt>
                <c:pt idx="186">
                  <c:v>26-VI.</c:v>
                </c:pt>
                <c:pt idx="187">
                  <c:v>27-VI.</c:v>
                </c:pt>
                <c:pt idx="188">
                  <c:v>28-VI.</c:v>
                </c:pt>
                <c:pt idx="189">
                  <c:v>29-VI.</c:v>
                </c:pt>
                <c:pt idx="190">
                  <c:v>30-VI.</c:v>
                </c:pt>
                <c:pt idx="191">
                  <c:v>1-VII.</c:v>
                </c:pt>
                <c:pt idx="192">
                  <c:v>2-VII.</c:v>
                </c:pt>
                <c:pt idx="193">
                  <c:v>3-VII.</c:v>
                </c:pt>
                <c:pt idx="194">
                  <c:v>4-VII.</c:v>
                </c:pt>
                <c:pt idx="195">
                  <c:v>5-VII.</c:v>
                </c:pt>
                <c:pt idx="196">
                  <c:v>6-VII.</c:v>
                </c:pt>
                <c:pt idx="197">
                  <c:v>7-VII.</c:v>
                </c:pt>
                <c:pt idx="198">
                  <c:v>8-VII.</c:v>
                </c:pt>
                <c:pt idx="199">
                  <c:v>9-VII.</c:v>
                </c:pt>
                <c:pt idx="200">
                  <c:v>10-VII.</c:v>
                </c:pt>
                <c:pt idx="201">
                  <c:v>11-VII.</c:v>
                </c:pt>
                <c:pt idx="202">
                  <c:v>12-VII.</c:v>
                </c:pt>
                <c:pt idx="203">
                  <c:v>13-VII.</c:v>
                </c:pt>
                <c:pt idx="204">
                  <c:v>14-VII.</c:v>
                </c:pt>
                <c:pt idx="205">
                  <c:v>15-VII.</c:v>
                </c:pt>
                <c:pt idx="206">
                  <c:v>16-VII.</c:v>
                </c:pt>
                <c:pt idx="207">
                  <c:v>17-VII.</c:v>
                </c:pt>
                <c:pt idx="208">
                  <c:v>18-VII.</c:v>
                </c:pt>
                <c:pt idx="209">
                  <c:v>19-VII.</c:v>
                </c:pt>
                <c:pt idx="210">
                  <c:v>20-VII.</c:v>
                </c:pt>
                <c:pt idx="211">
                  <c:v>21-VII.</c:v>
                </c:pt>
                <c:pt idx="212">
                  <c:v>22-VII.</c:v>
                </c:pt>
                <c:pt idx="213">
                  <c:v>23-VII.</c:v>
                </c:pt>
                <c:pt idx="214">
                  <c:v>24-VII.</c:v>
                </c:pt>
                <c:pt idx="215">
                  <c:v>25-VII.</c:v>
                </c:pt>
                <c:pt idx="216">
                  <c:v>26-VII.</c:v>
                </c:pt>
                <c:pt idx="217">
                  <c:v>27-VII.</c:v>
                </c:pt>
                <c:pt idx="218">
                  <c:v>28-VII.</c:v>
                </c:pt>
                <c:pt idx="219">
                  <c:v>29-VII.</c:v>
                </c:pt>
                <c:pt idx="220">
                  <c:v>30-VII.</c:v>
                </c:pt>
                <c:pt idx="221">
                  <c:v>31-VII.</c:v>
                </c:pt>
                <c:pt idx="222">
                  <c:v>1-VIII.</c:v>
                </c:pt>
                <c:pt idx="223">
                  <c:v>2-VIII.</c:v>
                </c:pt>
                <c:pt idx="224">
                  <c:v>3-VIII.</c:v>
                </c:pt>
                <c:pt idx="225">
                  <c:v>4-VIII.</c:v>
                </c:pt>
                <c:pt idx="226">
                  <c:v>5-VIII.</c:v>
                </c:pt>
                <c:pt idx="227">
                  <c:v>6-VIII.</c:v>
                </c:pt>
                <c:pt idx="228">
                  <c:v>7-VIII.</c:v>
                </c:pt>
                <c:pt idx="229">
                  <c:v>8-VIII.</c:v>
                </c:pt>
                <c:pt idx="230">
                  <c:v>9-VIII.</c:v>
                </c:pt>
                <c:pt idx="231">
                  <c:v>10-VIII.</c:v>
                </c:pt>
                <c:pt idx="232">
                  <c:v>11-VIII.</c:v>
                </c:pt>
                <c:pt idx="233">
                  <c:v>12-VIII.</c:v>
                </c:pt>
                <c:pt idx="234">
                  <c:v>13-VIII.</c:v>
                </c:pt>
                <c:pt idx="235">
                  <c:v>14-VIII.</c:v>
                </c:pt>
                <c:pt idx="236">
                  <c:v>15-VIII.</c:v>
                </c:pt>
                <c:pt idx="237">
                  <c:v>16-VIII.</c:v>
                </c:pt>
                <c:pt idx="238">
                  <c:v>17-VIII.</c:v>
                </c:pt>
                <c:pt idx="239">
                  <c:v>18-VIII.</c:v>
                </c:pt>
                <c:pt idx="240">
                  <c:v>19-VIII.</c:v>
                </c:pt>
                <c:pt idx="241">
                  <c:v>20-VIII.</c:v>
                </c:pt>
                <c:pt idx="242">
                  <c:v>21-VIII.</c:v>
                </c:pt>
                <c:pt idx="243">
                  <c:v>22-VIII.</c:v>
                </c:pt>
                <c:pt idx="244">
                  <c:v>23-VIII.</c:v>
                </c:pt>
                <c:pt idx="245">
                  <c:v>24-VIII.</c:v>
                </c:pt>
                <c:pt idx="246">
                  <c:v>25-VIII.</c:v>
                </c:pt>
                <c:pt idx="247">
                  <c:v>26-VIII.</c:v>
                </c:pt>
                <c:pt idx="248">
                  <c:v>27-VIII.</c:v>
                </c:pt>
                <c:pt idx="249">
                  <c:v>28-VIII.</c:v>
                </c:pt>
                <c:pt idx="250">
                  <c:v>29-VIII.</c:v>
                </c:pt>
                <c:pt idx="251">
                  <c:v>30-VIII.</c:v>
                </c:pt>
                <c:pt idx="252">
                  <c:v>31-VIII.</c:v>
                </c:pt>
                <c:pt idx="253">
                  <c:v>1-IX.</c:v>
                </c:pt>
                <c:pt idx="254">
                  <c:v>2-IX.</c:v>
                </c:pt>
                <c:pt idx="255">
                  <c:v>3-IX.</c:v>
                </c:pt>
                <c:pt idx="256">
                  <c:v>4-IX.</c:v>
                </c:pt>
                <c:pt idx="257">
                  <c:v>5-IX.</c:v>
                </c:pt>
                <c:pt idx="258">
                  <c:v>6-IX.</c:v>
                </c:pt>
                <c:pt idx="259">
                  <c:v>7-IX.</c:v>
                </c:pt>
                <c:pt idx="260">
                  <c:v>8-IX.</c:v>
                </c:pt>
                <c:pt idx="261">
                  <c:v>9-IX.</c:v>
                </c:pt>
                <c:pt idx="262">
                  <c:v>10-IX.</c:v>
                </c:pt>
                <c:pt idx="263">
                  <c:v>11-IX.</c:v>
                </c:pt>
                <c:pt idx="264">
                  <c:v>12-IX.</c:v>
                </c:pt>
                <c:pt idx="265">
                  <c:v>13-IX.</c:v>
                </c:pt>
                <c:pt idx="266">
                  <c:v>14-IX.</c:v>
                </c:pt>
                <c:pt idx="267">
                  <c:v>15-IX.</c:v>
                </c:pt>
                <c:pt idx="268">
                  <c:v>16-IX.</c:v>
                </c:pt>
                <c:pt idx="269">
                  <c:v>17-IX.</c:v>
                </c:pt>
                <c:pt idx="270">
                  <c:v>18-IX.</c:v>
                </c:pt>
                <c:pt idx="271">
                  <c:v>19-IX.</c:v>
                </c:pt>
                <c:pt idx="272">
                  <c:v>20-IX.</c:v>
                </c:pt>
                <c:pt idx="273">
                  <c:v>21-IX.</c:v>
                </c:pt>
                <c:pt idx="274">
                  <c:v>22-IX.</c:v>
                </c:pt>
                <c:pt idx="275">
                  <c:v>23-IX.</c:v>
                </c:pt>
                <c:pt idx="276">
                  <c:v>24-IX.</c:v>
                </c:pt>
                <c:pt idx="277">
                  <c:v>25-IX.</c:v>
                </c:pt>
                <c:pt idx="278">
                  <c:v>26-IX.</c:v>
                </c:pt>
                <c:pt idx="279">
                  <c:v>27-IX.</c:v>
                </c:pt>
                <c:pt idx="280">
                  <c:v>28-IX.</c:v>
                </c:pt>
                <c:pt idx="281">
                  <c:v>29-IX.</c:v>
                </c:pt>
                <c:pt idx="282">
                  <c:v>30-IX.</c:v>
                </c:pt>
                <c:pt idx="283">
                  <c:v>1-X.</c:v>
                </c:pt>
                <c:pt idx="284">
                  <c:v>2-X.</c:v>
                </c:pt>
                <c:pt idx="285">
                  <c:v>3-X.</c:v>
                </c:pt>
                <c:pt idx="286">
                  <c:v>4-X.</c:v>
                </c:pt>
                <c:pt idx="287">
                  <c:v>5-X.</c:v>
                </c:pt>
                <c:pt idx="288">
                  <c:v>6-X.</c:v>
                </c:pt>
                <c:pt idx="289">
                  <c:v>7-X.</c:v>
                </c:pt>
                <c:pt idx="290">
                  <c:v>8-X.</c:v>
                </c:pt>
                <c:pt idx="291">
                  <c:v>9-X.</c:v>
                </c:pt>
                <c:pt idx="292">
                  <c:v>10-X.</c:v>
                </c:pt>
                <c:pt idx="293">
                  <c:v>11-X.</c:v>
                </c:pt>
                <c:pt idx="294">
                  <c:v>12-X.</c:v>
                </c:pt>
                <c:pt idx="295">
                  <c:v>13-X.</c:v>
                </c:pt>
                <c:pt idx="296">
                  <c:v>14-X.</c:v>
                </c:pt>
                <c:pt idx="297">
                  <c:v>15-X.</c:v>
                </c:pt>
                <c:pt idx="298">
                  <c:v>16-X.</c:v>
                </c:pt>
                <c:pt idx="299">
                  <c:v>17-X.</c:v>
                </c:pt>
                <c:pt idx="300">
                  <c:v>18-X.</c:v>
                </c:pt>
                <c:pt idx="301">
                  <c:v>19-X.</c:v>
                </c:pt>
                <c:pt idx="302">
                  <c:v>20-X.</c:v>
                </c:pt>
                <c:pt idx="303">
                  <c:v>21-X.</c:v>
                </c:pt>
                <c:pt idx="304">
                  <c:v>22-X.</c:v>
                </c:pt>
                <c:pt idx="305">
                  <c:v>23-X.</c:v>
                </c:pt>
                <c:pt idx="306">
                  <c:v>24-X.</c:v>
                </c:pt>
                <c:pt idx="307">
                  <c:v>25-X.</c:v>
                </c:pt>
                <c:pt idx="308">
                  <c:v>26-X.</c:v>
                </c:pt>
              </c:strCache>
            </c:strRef>
          </c:cat>
          <c:val>
            <c:numRef>
              <c:f>List1!$D$3:$KZ$3</c:f>
              <c:numCache>
                <c:formatCode>General</c:formatCode>
                <c:ptCount val="309"/>
                <c:pt idx="5">
                  <c:v>411</c:v>
                </c:pt>
                <c:pt idx="6">
                  <c:v>1126</c:v>
                </c:pt>
                <c:pt idx="7">
                  <c:v>2238</c:v>
                </c:pt>
                <c:pt idx="8">
                  <c:v>3374</c:v>
                </c:pt>
                <c:pt idx="9">
                  <c:v>3754</c:v>
                </c:pt>
                <c:pt idx="10">
                  <c:v>3870</c:v>
                </c:pt>
                <c:pt idx="11">
                  <c:v>4353</c:v>
                </c:pt>
                <c:pt idx="12">
                  <c:v>4671</c:v>
                </c:pt>
                <c:pt idx="13">
                  <c:v>6020</c:v>
                </c:pt>
                <c:pt idx="14">
                  <c:v>7663</c:v>
                </c:pt>
                <c:pt idx="15">
                  <c:v>9677</c:v>
                </c:pt>
                <c:pt idx="16">
                  <c:v>12230</c:v>
                </c:pt>
                <c:pt idx="17">
                  <c:v>15369</c:v>
                </c:pt>
                <c:pt idx="18">
                  <c:v>15816</c:v>
                </c:pt>
                <c:pt idx="19">
                  <c:v>16170</c:v>
                </c:pt>
                <c:pt idx="20">
                  <c:v>18975</c:v>
                </c:pt>
                <c:pt idx="21">
                  <c:v>22164</c:v>
                </c:pt>
                <c:pt idx="22">
                  <c:v>25026</c:v>
                </c:pt>
                <c:pt idx="23">
                  <c:v>28218</c:v>
                </c:pt>
                <c:pt idx="24">
                  <c:v>31006</c:v>
                </c:pt>
                <c:pt idx="25">
                  <c:v>31389</c:v>
                </c:pt>
                <c:pt idx="26">
                  <c:v>31615</c:v>
                </c:pt>
                <c:pt idx="27">
                  <c:v>33571</c:v>
                </c:pt>
                <c:pt idx="28">
                  <c:v>35259</c:v>
                </c:pt>
                <c:pt idx="29">
                  <c:v>36904</c:v>
                </c:pt>
                <c:pt idx="30">
                  <c:v>38438</c:v>
                </c:pt>
                <c:pt idx="31">
                  <c:v>39749</c:v>
                </c:pt>
                <c:pt idx="32">
                  <c:v>39906</c:v>
                </c:pt>
                <c:pt idx="33">
                  <c:v>40015</c:v>
                </c:pt>
                <c:pt idx="34">
                  <c:v>40661</c:v>
                </c:pt>
                <c:pt idx="35">
                  <c:v>41434</c:v>
                </c:pt>
                <c:pt idx="36">
                  <c:v>42088</c:v>
                </c:pt>
                <c:pt idx="37">
                  <c:v>42696</c:v>
                </c:pt>
                <c:pt idx="38">
                  <c:v>43258</c:v>
                </c:pt>
                <c:pt idx="39">
                  <c:v>43281</c:v>
                </c:pt>
                <c:pt idx="40">
                  <c:v>43299</c:v>
                </c:pt>
                <c:pt idx="41">
                  <c:v>43656</c:v>
                </c:pt>
                <c:pt idx="42">
                  <c:v>43997</c:v>
                </c:pt>
                <c:pt idx="43">
                  <c:v>44359</c:v>
                </c:pt>
                <c:pt idx="44">
                  <c:v>44692</c:v>
                </c:pt>
                <c:pt idx="45">
                  <c:v>45109</c:v>
                </c:pt>
                <c:pt idx="46">
                  <c:v>45131</c:v>
                </c:pt>
                <c:pt idx="47">
                  <c:v>45151</c:v>
                </c:pt>
                <c:pt idx="48">
                  <c:v>45420</c:v>
                </c:pt>
                <c:pt idx="49">
                  <c:v>45742</c:v>
                </c:pt>
                <c:pt idx="50">
                  <c:v>46146</c:v>
                </c:pt>
                <c:pt idx="51">
                  <c:v>46619</c:v>
                </c:pt>
                <c:pt idx="52">
                  <c:v>47149</c:v>
                </c:pt>
                <c:pt idx="53">
                  <c:v>47322</c:v>
                </c:pt>
                <c:pt idx="54">
                  <c:v>47376</c:v>
                </c:pt>
                <c:pt idx="55">
                  <c:v>47927</c:v>
                </c:pt>
                <c:pt idx="56">
                  <c:v>48415</c:v>
                </c:pt>
                <c:pt idx="57">
                  <c:v>48986</c:v>
                </c:pt>
                <c:pt idx="58">
                  <c:v>49657</c:v>
                </c:pt>
                <c:pt idx="59">
                  <c:v>50412</c:v>
                </c:pt>
                <c:pt idx="60">
                  <c:v>50539</c:v>
                </c:pt>
                <c:pt idx="61">
                  <c:v>50597</c:v>
                </c:pt>
                <c:pt idx="62">
                  <c:v>51194</c:v>
                </c:pt>
                <c:pt idx="63">
                  <c:v>52009</c:v>
                </c:pt>
                <c:pt idx="64">
                  <c:v>52832</c:v>
                </c:pt>
                <c:pt idx="65">
                  <c:v>54058</c:v>
                </c:pt>
                <c:pt idx="66">
                  <c:v>55049</c:v>
                </c:pt>
                <c:pt idx="67">
                  <c:v>55125</c:v>
                </c:pt>
                <c:pt idx="68">
                  <c:v>55172</c:v>
                </c:pt>
                <c:pt idx="69">
                  <c:v>56061</c:v>
                </c:pt>
                <c:pt idx="70">
                  <c:v>57013</c:v>
                </c:pt>
                <c:pt idx="71">
                  <c:v>58004</c:v>
                </c:pt>
                <c:pt idx="72">
                  <c:v>58912</c:v>
                </c:pt>
                <c:pt idx="73">
                  <c:v>60100</c:v>
                </c:pt>
                <c:pt idx="74">
                  <c:v>60349</c:v>
                </c:pt>
                <c:pt idx="75">
                  <c:v>60537</c:v>
                </c:pt>
                <c:pt idx="76">
                  <c:v>61315</c:v>
                </c:pt>
                <c:pt idx="77">
                  <c:v>62242</c:v>
                </c:pt>
                <c:pt idx="78">
                  <c:v>63188</c:v>
                </c:pt>
                <c:pt idx="79">
                  <c:v>64515</c:v>
                </c:pt>
                <c:pt idx="80">
                  <c:v>65613</c:v>
                </c:pt>
                <c:pt idx="81">
                  <c:v>65848</c:v>
                </c:pt>
                <c:pt idx="82">
                  <c:v>66090</c:v>
                </c:pt>
                <c:pt idx="83">
                  <c:v>66793</c:v>
                </c:pt>
                <c:pt idx="84">
                  <c:v>67835</c:v>
                </c:pt>
                <c:pt idx="85">
                  <c:v>68856</c:v>
                </c:pt>
                <c:pt idx="86">
                  <c:v>69747</c:v>
                </c:pt>
                <c:pt idx="87">
                  <c:v>70721</c:v>
                </c:pt>
                <c:pt idx="88">
                  <c:v>71081</c:v>
                </c:pt>
                <c:pt idx="89">
                  <c:v>71253</c:v>
                </c:pt>
                <c:pt idx="90">
                  <c:v>71783</c:v>
                </c:pt>
                <c:pt idx="91">
                  <c:v>72336</c:v>
                </c:pt>
                <c:pt idx="92">
                  <c:v>72840</c:v>
                </c:pt>
                <c:pt idx="93">
                  <c:v>73397</c:v>
                </c:pt>
                <c:pt idx="94">
                  <c:v>73977</c:v>
                </c:pt>
                <c:pt idx="95">
                  <c:v>74129</c:v>
                </c:pt>
                <c:pt idx="96">
                  <c:v>74296</c:v>
                </c:pt>
                <c:pt idx="97">
                  <c:v>74644</c:v>
                </c:pt>
                <c:pt idx="98">
                  <c:v>75090</c:v>
                </c:pt>
                <c:pt idx="99">
                  <c:v>75559</c:v>
                </c:pt>
                <c:pt idx="100">
                  <c:v>76012</c:v>
                </c:pt>
                <c:pt idx="101">
                  <c:v>76117</c:v>
                </c:pt>
                <c:pt idx="102">
                  <c:v>76159</c:v>
                </c:pt>
                <c:pt idx="103">
                  <c:v>76208</c:v>
                </c:pt>
                <c:pt idx="104">
                  <c:v>76243</c:v>
                </c:pt>
                <c:pt idx="105">
                  <c:v>76489</c:v>
                </c:pt>
                <c:pt idx="106">
                  <c:v>76806</c:v>
                </c:pt>
                <c:pt idx="107">
                  <c:v>77343</c:v>
                </c:pt>
                <c:pt idx="108">
                  <c:v>77915</c:v>
                </c:pt>
                <c:pt idx="109">
                  <c:v>78073</c:v>
                </c:pt>
                <c:pt idx="110">
                  <c:v>78173</c:v>
                </c:pt>
                <c:pt idx="111">
                  <c:v>78598</c:v>
                </c:pt>
                <c:pt idx="112">
                  <c:v>78975</c:v>
                </c:pt>
                <c:pt idx="113">
                  <c:v>79429</c:v>
                </c:pt>
                <c:pt idx="114">
                  <c:v>80084</c:v>
                </c:pt>
                <c:pt idx="115">
                  <c:v>80810</c:v>
                </c:pt>
                <c:pt idx="116">
                  <c:v>81012</c:v>
                </c:pt>
                <c:pt idx="117">
                  <c:v>81203</c:v>
                </c:pt>
                <c:pt idx="118">
                  <c:v>81721</c:v>
                </c:pt>
                <c:pt idx="119">
                  <c:v>82224</c:v>
                </c:pt>
                <c:pt idx="120">
                  <c:v>82886</c:v>
                </c:pt>
                <c:pt idx="121">
                  <c:v>83610</c:v>
                </c:pt>
                <c:pt idx="122">
                  <c:v>84323</c:v>
                </c:pt>
                <c:pt idx="123">
                  <c:v>84523</c:v>
                </c:pt>
                <c:pt idx="124">
                  <c:v>84710</c:v>
                </c:pt>
                <c:pt idx="125">
                  <c:v>85318</c:v>
                </c:pt>
                <c:pt idx="126">
                  <c:v>85867</c:v>
                </c:pt>
                <c:pt idx="127">
                  <c:v>86569</c:v>
                </c:pt>
                <c:pt idx="128">
                  <c:v>87327</c:v>
                </c:pt>
                <c:pt idx="129">
                  <c:v>87972</c:v>
                </c:pt>
                <c:pt idx="130">
                  <c:v>88126</c:v>
                </c:pt>
                <c:pt idx="131">
                  <c:v>88279</c:v>
                </c:pt>
                <c:pt idx="132">
                  <c:v>88786</c:v>
                </c:pt>
                <c:pt idx="133">
                  <c:v>89308</c:v>
                </c:pt>
                <c:pt idx="134">
                  <c:v>89833</c:v>
                </c:pt>
                <c:pt idx="135">
                  <c:v>90382</c:v>
                </c:pt>
                <c:pt idx="136">
                  <c:v>90951</c:v>
                </c:pt>
                <c:pt idx="137">
                  <c:v>91168</c:v>
                </c:pt>
                <c:pt idx="138">
                  <c:v>91275</c:v>
                </c:pt>
                <c:pt idx="139">
                  <c:v>91672</c:v>
                </c:pt>
                <c:pt idx="140">
                  <c:v>92151</c:v>
                </c:pt>
                <c:pt idx="141">
                  <c:v>92583</c:v>
                </c:pt>
                <c:pt idx="142">
                  <c:v>93019</c:v>
                </c:pt>
                <c:pt idx="143">
                  <c:v>93384</c:v>
                </c:pt>
                <c:pt idx="144">
                  <c:v>93543</c:v>
                </c:pt>
                <c:pt idx="145">
                  <c:v>93647</c:v>
                </c:pt>
                <c:pt idx="146">
                  <c:v>93964</c:v>
                </c:pt>
                <c:pt idx="147">
                  <c:v>94335</c:v>
                </c:pt>
                <c:pt idx="148">
                  <c:v>94694</c:v>
                </c:pt>
                <c:pt idx="149">
                  <c:v>95085</c:v>
                </c:pt>
                <c:pt idx="150">
                  <c:v>95448</c:v>
                </c:pt>
                <c:pt idx="151">
                  <c:v>95593</c:v>
                </c:pt>
                <c:pt idx="152">
                  <c:v>95691</c:v>
                </c:pt>
                <c:pt idx="153">
                  <c:v>95903</c:v>
                </c:pt>
                <c:pt idx="154">
                  <c:v>96139</c:v>
                </c:pt>
                <c:pt idx="155">
                  <c:v>96491</c:v>
                </c:pt>
                <c:pt idx="156">
                  <c:v>96821</c:v>
                </c:pt>
                <c:pt idx="157">
                  <c:v>97105</c:v>
                </c:pt>
                <c:pt idx="158">
                  <c:v>97245</c:v>
                </c:pt>
                <c:pt idx="159">
                  <c:v>97335</c:v>
                </c:pt>
                <c:pt idx="160">
                  <c:v>97612</c:v>
                </c:pt>
                <c:pt idx="161">
                  <c:v>97884</c:v>
                </c:pt>
                <c:pt idx="162">
                  <c:v>98227</c:v>
                </c:pt>
                <c:pt idx="163">
                  <c:v>98579</c:v>
                </c:pt>
                <c:pt idx="164">
                  <c:v>98904</c:v>
                </c:pt>
                <c:pt idx="165">
                  <c:v>99039</c:v>
                </c:pt>
                <c:pt idx="166">
                  <c:v>99169</c:v>
                </c:pt>
                <c:pt idx="167">
                  <c:v>99503</c:v>
                </c:pt>
                <c:pt idx="168">
                  <c:v>99843</c:v>
                </c:pt>
                <c:pt idx="169">
                  <c:v>100189</c:v>
                </c:pt>
                <c:pt idx="170">
                  <c:v>100545</c:v>
                </c:pt>
                <c:pt idx="171">
                  <c:v>100846</c:v>
                </c:pt>
                <c:pt idx="172">
                  <c:v>101051</c:v>
                </c:pt>
                <c:pt idx="173">
                  <c:v>101165</c:v>
                </c:pt>
                <c:pt idx="174">
                  <c:v>101407</c:v>
                </c:pt>
                <c:pt idx="175">
                  <c:v>101678</c:v>
                </c:pt>
                <c:pt idx="176">
                  <c:v>101919</c:v>
                </c:pt>
                <c:pt idx="177">
                  <c:v>102186</c:v>
                </c:pt>
                <c:pt idx="178">
                  <c:v>102403</c:v>
                </c:pt>
                <c:pt idx="179">
                  <c:v>102521</c:v>
                </c:pt>
                <c:pt idx="180">
                  <c:v>102613</c:v>
                </c:pt>
                <c:pt idx="181">
                  <c:v>102791</c:v>
                </c:pt>
                <c:pt idx="182">
                  <c:v>103008</c:v>
                </c:pt>
                <c:pt idx="183">
                  <c:v>103195</c:v>
                </c:pt>
                <c:pt idx="184">
                  <c:v>103354</c:v>
                </c:pt>
                <c:pt idx="185">
                  <c:v>103540</c:v>
                </c:pt>
                <c:pt idx="186">
                  <c:v>103631</c:v>
                </c:pt>
                <c:pt idx="187">
                  <c:v>103697</c:v>
                </c:pt>
                <c:pt idx="188">
                  <c:v>103877</c:v>
                </c:pt>
                <c:pt idx="189">
                  <c:v>104044</c:v>
                </c:pt>
                <c:pt idx="190">
                  <c:v>104222</c:v>
                </c:pt>
                <c:pt idx="191">
                  <c:v>104361</c:v>
                </c:pt>
                <c:pt idx="192">
                  <c:v>104555</c:v>
                </c:pt>
                <c:pt idx="193">
                  <c:v>104588</c:v>
                </c:pt>
                <c:pt idx="194">
                  <c:v>104633</c:v>
                </c:pt>
                <c:pt idx="195">
                  <c:v>104681</c:v>
                </c:pt>
                <c:pt idx="196">
                  <c:v>104713</c:v>
                </c:pt>
                <c:pt idx="197">
                  <c:v>104877</c:v>
                </c:pt>
                <c:pt idx="198">
                  <c:v>105053</c:v>
                </c:pt>
                <c:pt idx="199">
                  <c:v>105222</c:v>
                </c:pt>
                <c:pt idx="200">
                  <c:v>105281</c:v>
                </c:pt>
                <c:pt idx="201">
                  <c:v>105330</c:v>
                </c:pt>
                <c:pt idx="202">
                  <c:v>105492</c:v>
                </c:pt>
                <c:pt idx="203">
                  <c:v>105676</c:v>
                </c:pt>
                <c:pt idx="204">
                  <c:v>105880</c:v>
                </c:pt>
                <c:pt idx="205">
                  <c:v>106067</c:v>
                </c:pt>
                <c:pt idx="206">
                  <c:v>106249</c:v>
                </c:pt>
                <c:pt idx="207">
                  <c:v>106299</c:v>
                </c:pt>
                <c:pt idx="208">
                  <c:v>106357</c:v>
                </c:pt>
                <c:pt idx="209">
                  <c:v>106528</c:v>
                </c:pt>
                <c:pt idx="210">
                  <c:v>106677</c:v>
                </c:pt>
                <c:pt idx="211">
                  <c:v>106857</c:v>
                </c:pt>
                <c:pt idx="212">
                  <c:v>107033</c:v>
                </c:pt>
                <c:pt idx="213">
                  <c:v>107179</c:v>
                </c:pt>
                <c:pt idx="214">
                  <c:v>107223</c:v>
                </c:pt>
                <c:pt idx="215">
                  <c:v>107249</c:v>
                </c:pt>
                <c:pt idx="216">
                  <c:v>107417</c:v>
                </c:pt>
                <c:pt idx="217">
                  <c:v>107585</c:v>
                </c:pt>
                <c:pt idx="218">
                  <c:v>107735</c:v>
                </c:pt>
                <c:pt idx="219">
                  <c:v>107884</c:v>
                </c:pt>
                <c:pt idx="220">
                  <c:v>108049</c:v>
                </c:pt>
                <c:pt idx="221">
                  <c:v>108089</c:v>
                </c:pt>
                <c:pt idx="222">
                  <c:v>108129</c:v>
                </c:pt>
                <c:pt idx="223">
                  <c:v>108228</c:v>
                </c:pt>
                <c:pt idx="224">
                  <c:v>108339</c:v>
                </c:pt>
                <c:pt idx="225">
                  <c:v>108467</c:v>
                </c:pt>
                <c:pt idx="226">
                  <c:v>108576</c:v>
                </c:pt>
                <c:pt idx="227">
                  <c:v>108696</c:v>
                </c:pt>
                <c:pt idx="228">
                  <c:v>108718</c:v>
                </c:pt>
                <c:pt idx="229">
                  <c:v>108743</c:v>
                </c:pt>
                <c:pt idx="230">
                  <c:v>108828</c:v>
                </c:pt>
                <c:pt idx="231">
                  <c:v>108907</c:v>
                </c:pt>
                <c:pt idx="232">
                  <c:v>108977</c:v>
                </c:pt>
                <c:pt idx="233">
                  <c:v>109083</c:v>
                </c:pt>
                <c:pt idx="234">
                  <c:v>109146</c:v>
                </c:pt>
                <c:pt idx="235">
                  <c:v>109167</c:v>
                </c:pt>
                <c:pt idx="236">
                  <c:v>109189</c:v>
                </c:pt>
                <c:pt idx="237">
                  <c:v>109275</c:v>
                </c:pt>
                <c:pt idx="238">
                  <c:v>109354</c:v>
                </c:pt>
                <c:pt idx="239">
                  <c:v>109417</c:v>
                </c:pt>
                <c:pt idx="240">
                  <c:v>109487</c:v>
                </c:pt>
                <c:pt idx="241">
                  <c:v>109601</c:v>
                </c:pt>
                <c:pt idx="242">
                  <c:v>109615</c:v>
                </c:pt>
                <c:pt idx="243">
                  <c:v>109626</c:v>
                </c:pt>
                <c:pt idx="244">
                  <c:v>109721</c:v>
                </c:pt>
                <c:pt idx="245">
                  <c:v>109808</c:v>
                </c:pt>
                <c:pt idx="246">
                  <c:v>109874</c:v>
                </c:pt>
                <c:pt idx="247">
                  <c:v>109945</c:v>
                </c:pt>
                <c:pt idx="248">
                  <c:v>110033</c:v>
                </c:pt>
                <c:pt idx="249">
                  <c:v>110049</c:v>
                </c:pt>
                <c:pt idx="250">
                  <c:v>110065</c:v>
                </c:pt>
                <c:pt idx="251">
                  <c:v>110137</c:v>
                </c:pt>
                <c:pt idx="252">
                  <c:v>110198</c:v>
                </c:pt>
                <c:pt idx="253">
                  <c:v>110254</c:v>
                </c:pt>
                <c:pt idx="254">
                  <c:v>110327</c:v>
                </c:pt>
                <c:pt idx="255">
                  <c:v>110403</c:v>
                </c:pt>
                <c:pt idx="256">
                  <c:v>110415</c:v>
                </c:pt>
                <c:pt idx="257">
                  <c:v>110425</c:v>
                </c:pt>
                <c:pt idx="258">
                  <c:v>110483</c:v>
                </c:pt>
                <c:pt idx="259">
                  <c:v>110522</c:v>
                </c:pt>
                <c:pt idx="260">
                  <c:v>110573</c:v>
                </c:pt>
                <c:pt idx="261">
                  <c:v>110628</c:v>
                </c:pt>
                <c:pt idx="262">
                  <c:v>110679</c:v>
                </c:pt>
                <c:pt idx="263">
                  <c:v>110696</c:v>
                </c:pt>
                <c:pt idx="264">
                  <c:v>110703</c:v>
                </c:pt>
                <c:pt idx="265">
                  <c:v>110747</c:v>
                </c:pt>
                <c:pt idx="266">
                  <c:v>110810</c:v>
                </c:pt>
                <c:pt idx="267">
                  <c:v>110858</c:v>
                </c:pt>
                <c:pt idx="268">
                  <c:v>110914</c:v>
                </c:pt>
                <c:pt idx="269">
                  <c:v>110981</c:v>
                </c:pt>
                <c:pt idx="270">
                  <c:v>110998</c:v>
                </c:pt>
                <c:pt idx="271">
                  <c:v>111004</c:v>
                </c:pt>
                <c:pt idx="272">
                  <c:v>111042</c:v>
                </c:pt>
                <c:pt idx="273">
                  <c:v>111090</c:v>
                </c:pt>
                <c:pt idx="274">
                  <c:v>111133</c:v>
                </c:pt>
                <c:pt idx="275">
                  <c:v>111185</c:v>
                </c:pt>
                <c:pt idx="276">
                  <c:v>111257</c:v>
                </c:pt>
                <c:pt idx="277">
                  <c:v>111267</c:v>
                </c:pt>
                <c:pt idx="278">
                  <c:v>111271</c:v>
                </c:pt>
                <c:pt idx="279">
                  <c:v>111314</c:v>
                </c:pt>
                <c:pt idx="280">
                  <c:v>111316</c:v>
                </c:pt>
                <c:pt idx="281">
                  <c:v>111357</c:v>
                </c:pt>
                <c:pt idx="282">
                  <c:v>111394</c:v>
                </c:pt>
                <c:pt idx="283">
                  <c:v>111425</c:v>
                </c:pt>
                <c:pt idx="284">
                  <c:v>111432</c:v>
                </c:pt>
                <c:pt idx="285">
                  <c:v>111439</c:v>
                </c:pt>
                <c:pt idx="286">
                  <c:v>111466</c:v>
                </c:pt>
                <c:pt idx="287">
                  <c:v>111510</c:v>
                </c:pt>
                <c:pt idx="288">
                  <c:v>111557</c:v>
                </c:pt>
                <c:pt idx="289">
                  <c:v>111583</c:v>
                </c:pt>
                <c:pt idx="290">
                  <c:v>111632</c:v>
                </c:pt>
                <c:pt idx="291">
                  <c:v>111642</c:v>
                </c:pt>
                <c:pt idx="292">
                  <c:v>111647</c:v>
                </c:pt>
                <c:pt idx="293">
                  <c:v>111673</c:v>
                </c:pt>
                <c:pt idx="294">
                  <c:v>111690</c:v>
                </c:pt>
                <c:pt idx="295">
                  <c:v>111723</c:v>
                </c:pt>
                <c:pt idx="296">
                  <c:v>111751</c:v>
                </c:pt>
                <c:pt idx="297">
                  <c:v>111792</c:v>
                </c:pt>
                <c:pt idx="298">
                  <c:v>111803</c:v>
                </c:pt>
                <c:pt idx="299">
                  <c:v>111820</c:v>
                </c:pt>
                <c:pt idx="300">
                  <c:v>111872</c:v>
                </c:pt>
                <c:pt idx="301">
                  <c:v>111922</c:v>
                </c:pt>
                <c:pt idx="302">
                  <c:v>111980</c:v>
                </c:pt>
                <c:pt idx="303">
                  <c:v>112092</c:v>
                </c:pt>
                <c:pt idx="304">
                  <c:v>112210</c:v>
                </c:pt>
                <c:pt idx="305">
                  <c:v>112233</c:v>
                </c:pt>
                <c:pt idx="306">
                  <c:v>112255</c:v>
                </c:pt>
                <c:pt idx="307">
                  <c:v>112372</c:v>
                </c:pt>
                <c:pt idx="308">
                  <c:v>112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D$1:$KZ$1</c:f>
              <c:strCache>
                <c:ptCount val="309"/>
                <c:pt idx="0">
                  <c:v>22-XII.</c:v>
                </c:pt>
                <c:pt idx="1">
                  <c:v>23-XII.</c:v>
                </c:pt>
                <c:pt idx="2">
                  <c:v>24-XII.</c:v>
                </c:pt>
                <c:pt idx="3">
                  <c:v>25-XII.</c:v>
                </c:pt>
                <c:pt idx="4">
                  <c:v>26-XII.</c:v>
                </c:pt>
                <c:pt idx="5">
                  <c:v>27-XII.</c:v>
                </c:pt>
                <c:pt idx="6">
                  <c:v>28-XII.</c:v>
                </c:pt>
                <c:pt idx="7">
                  <c:v>29-XII.</c:v>
                </c:pt>
                <c:pt idx="8">
                  <c:v>30-XII.</c:v>
                </c:pt>
                <c:pt idx="9">
                  <c:v>31-XII.</c:v>
                </c:pt>
                <c:pt idx="10">
                  <c:v>1-I.</c:v>
                </c:pt>
                <c:pt idx="11">
                  <c:v>2-I.</c:v>
                </c:pt>
                <c:pt idx="12">
                  <c:v>3-I.</c:v>
                </c:pt>
                <c:pt idx="13">
                  <c:v>4-I.</c:v>
                </c:pt>
                <c:pt idx="14">
                  <c:v>5-I.</c:v>
                </c:pt>
                <c:pt idx="15">
                  <c:v>6-I.</c:v>
                </c:pt>
                <c:pt idx="16">
                  <c:v>7-I.</c:v>
                </c:pt>
                <c:pt idx="17">
                  <c:v>8-I.</c:v>
                </c:pt>
                <c:pt idx="18">
                  <c:v>9-I.</c:v>
                </c:pt>
                <c:pt idx="19">
                  <c:v>10-I.</c:v>
                </c:pt>
                <c:pt idx="20">
                  <c:v>11-I.</c:v>
                </c:pt>
                <c:pt idx="21">
                  <c:v>12-I.</c:v>
                </c:pt>
                <c:pt idx="22">
                  <c:v>13-I.</c:v>
                </c:pt>
                <c:pt idx="23">
                  <c:v>14-I.</c:v>
                </c:pt>
                <c:pt idx="24">
                  <c:v>15-I.</c:v>
                </c:pt>
                <c:pt idx="25">
                  <c:v>16-I.</c:v>
                </c:pt>
                <c:pt idx="26">
                  <c:v>17-I.</c:v>
                </c:pt>
                <c:pt idx="27">
                  <c:v>18-I.</c:v>
                </c:pt>
                <c:pt idx="28">
                  <c:v>19-I.</c:v>
                </c:pt>
                <c:pt idx="29">
                  <c:v>20-I.</c:v>
                </c:pt>
                <c:pt idx="30">
                  <c:v>21-I.</c:v>
                </c:pt>
                <c:pt idx="31">
                  <c:v>22-I.</c:v>
                </c:pt>
                <c:pt idx="32">
                  <c:v>23-I.</c:v>
                </c:pt>
                <c:pt idx="33">
                  <c:v>24-I.</c:v>
                </c:pt>
                <c:pt idx="34">
                  <c:v>25-I.</c:v>
                </c:pt>
                <c:pt idx="35">
                  <c:v>26-I.</c:v>
                </c:pt>
                <c:pt idx="36">
                  <c:v>27-I.</c:v>
                </c:pt>
                <c:pt idx="37">
                  <c:v>28-I.</c:v>
                </c:pt>
                <c:pt idx="38">
                  <c:v>29-I.</c:v>
                </c:pt>
                <c:pt idx="39">
                  <c:v>30-I.</c:v>
                </c:pt>
                <c:pt idx="40">
                  <c:v>31-I.</c:v>
                </c:pt>
                <c:pt idx="41">
                  <c:v>1-II.</c:v>
                </c:pt>
                <c:pt idx="42">
                  <c:v>2-II.</c:v>
                </c:pt>
                <c:pt idx="43">
                  <c:v>3-II.</c:v>
                </c:pt>
                <c:pt idx="44">
                  <c:v>4-II.</c:v>
                </c:pt>
                <c:pt idx="45">
                  <c:v>5-II.</c:v>
                </c:pt>
                <c:pt idx="46">
                  <c:v>6-II.</c:v>
                </c:pt>
                <c:pt idx="47">
                  <c:v>7-II.</c:v>
                </c:pt>
                <c:pt idx="48">
                  <c:v>8-II.</c:v>
                </c:pt>
                <c:pt idx="49">
                  <c:v>9-II.</c:v>
                </c:pt>
                <c:pt idx="50">
                  <c:v>10-II.</c:v>
                </c:pt>
                <c:pt idx="51">
                  <c:v>11-II.</c:v>
                </c:pt>
                <c:pt idx="52">
                  <c:v>12-II.</c:v>
                </c:pt>
                <c:pt idx="53">
                  <c:v>13-II.</c:v>
                </c:pt>
                <c:pt idx="54">
                  <c:v>14-II.</c:v>
                </c:pt>
                <c:pt idx="55">
                  <c:v>15-II.</c:v>
                </c:pt>
                <c:pt idx="56">
                  <c:v>16-II.</c:v>
                </c:pt>
                <c:pt idx="57">
                  <c:v>17-II.</c:v>
                </c:pt>
                <c:pt idx="58">
                  <c:v>18-II.</c:v>
                </c:pt>
                <c:pt idx="59">
                  <c:v>19-II.</c:v>
                </c:pt>
                <c:pt idx="60">
                  <c:v>20-II.</c:v>
                </c:pt>
                <c:pt idx="61">
                  <c:v>21-II.</c:v>
                </c:pt>
                <c:pt idx="62">
                  <c:v>22-II.</c:v>
                </c:pt>
                <c:pt idx="63">
                  <c:v>23-II.</c:v>
                </c:pt>
                <c:pt idx="64">
                  <c:v>24-II.</c:v>
                </c:pt>
                <c:pt idx="65">
                  <c:v>25-II.</c:v>
                </c:pt>
                <c:pt idx="66">
                  <c:v>26-II.</c:v>
                </c:pt>
                <c:pt idx="67">
                  <c:v>27-II.</c:v>
                </c:pt>
                <c:pt idx="68">
                  <c:v>28-II.</c:v>
                </c:pt>
                <c:pt idx="69">
                  <c:v>1-III.</c:v>
                </c:pt>
                <c:pt idx="70">
                  <c:v>2-III.</c:v>
                </c:pt>
                <c:pt idx="71">
                  <c:v>3-III.</c:v>
                </c:pt>
                <c:pt idx="72">
                  <c:v>4-III.</c:v>
                </c:pt>
                <c:pt idx="73">
                  <c:v>5-III.</c:v>
                </c:pt>
                <c:pt idx="74">
                  <c:v>6-III.</c:v>
                </c:pt>
                <c:pt idx="75">
                  <c:v>7-III.</c:v>
                </c:pt>
                <c:pt idx="76">
                  <c:v>8-III.</c:v>
                </c:pt>
                <c:pt idx="77">
                  <c:v>9-III.</c:v>
                </c:pt>
                <c:pt idx="78">
                  <c:v>10-III.</c:v>
                </c:pt>
                <c:pt idx="79">
                  <c:v>11-III.</c:v>
                </c:pt>
                <c:pt idx="80">
                  <c:v>12-III.</c:v>
                </c:pt>
                <c:pt idx="81">
                  <c:v>13-III.</c:v>
                </c:pt>
                <c:pt idx="82">
                  <c:v>14-III.</c:v>
                </c:pt>
                <c:pt idx="83">
                  <c:v>15-III.</c:v>
                </c:pt>
                <c:pt idx="84">
                  <c:v>16-III.</c:v>
                </c:pt>
                <c:pt idx="85">
                  <c:v>17-III.</c:v>
                </c:pt>
                <c:pt idx="86">
                  <c:v>18-III.</c:v>
                </c:pt>
                <c:pt idx="87">
                  <c:v>19-III.</c:v>
                </c:pt>
                <c:pt idx="88">
                  <c:v>20-III.</c:v>
                </c:pt>
                <c:pt idx="89">
                  <c:v>21-III.</c:v>
                </c:pt>
                <c:pt idx="90">
                  <c:v>22-III.</c:v>
                </c:pt>
                <c:pt idx="91">
                  <c:v>23-III.</c:v>
                </c:pt>
                <c:pt idx="92">
                  <c:v>24-III.</c:v>
                </c:pt>
                <c:pt idx="93">
                  <c:v>25-III.</c:v>
                </c:pt>
                <c:pt idx="94">
                  <c:v>26-III.</c:v>
                </c:pt>
                <c:pt idx="95">
                  <c:v>27-III.</c:v>
                </c:pt>
                <c:pt idx="96">
                  <c:v>28-III.</c:v>
                </c:pt>
                <c:pt idx="97">
                  <c:v>29-III.</c:v>
                </c:pt>
                <c:pt idx="98">
                  <c:v>30-III.</c:v>
                </c:pt>
                <c:pt idx="99">
                  <c:v>31-III.</c:v>
                </c:pt>
                <c:pt idx="100">
                  <c:v>1-IV.</c:v>
                </c:pt>
                <c:pt idx="101">
                  <c:v>2-IV.</c:v>
                </c:pt>
                <c:pt idx="102">
                  <c:v>3-IV.</c:v>
                </c:pt>
                <c:pt idx="103">
                  <c:v>4-IV.</c:v>
                </c:pt>
                <c:pt idx="104">
                  <c:v>5-IV.</c:v>
                </c:pt>
                <c:pt idx="105">
                  <c:v>6-IV.</c:v>
                </c:pt>
                <c:pt idx="106">
                  <c:v>7-IV.</c:v>
                </c:pt>
                <c:pt idx="107">
                  <c:v>8-IV.</c:v>
                </c:pt>
                <c:pt idx="108">
                  <c:v>9-IV.</c:v>
                </c:pt>
                <c:pt idx="109">
                  <c:v>10-IV.</c:v>
                </c:pt>
                <c:pt idx="110">
                  <c:v>11-IV.</c:v>
                </c:pt>
                <c:pt idx="111">
                  <c:v>12-IV.</c:v>
                </c:pt>
                <c:pt idx="112">
                  <c:v>13-IV.</c:v>
                </c:pt>
                <c:pt idx="113">
                  <c:v>14-IV.</c:v>
                </c:pt>
                <c:pt idx="114">
                  <c:v>15-IV.</c:v>
                </c:pt>
                <c:pt idx="115">
                  <c:v>16-IV.</c:v>
                </c:pt>
                <c:pt idx="116">
                  <c:v>17-IV.</c:v>
                </c:pt>
                <c:pt idx="117">
                  <c:v>18-IV.</c:v>
                </c:pt>
                <c:pt idx="118">
                  <c:v>19-IV.</c:v>
                </c:pt>
                <c:pt idx="119">
                  <c:v>20-IV.</c:v>
                </c:pt>
                <c:pt idx="120">
                  <c:v>21-IV.</c:v>
                </c:pt>
                <c:pt idx="121">
                  <c:v>22-IV.</c:v>
                </c:pt>
                <c:pt idx="122">
                  <c:v>23-IV.</c:v>
                </c:pt>
                <c:pt idx="123">
                  <c:v>24-IV.</c:v>
                </c:pt>
                <c:pt idx="124">
                  <c:v>25-IV.</c:v>
                </c:pt>
                <c:pt idx="125">
                  <c:v>26-IV.</c:v>
                </c:pt>
                <c:pt idx="126">
                  <c:v>27-IV.</c:v>
                </c:pt>
                <c:pt idx="127">
                  <c:v>28-IV.</c:v>
                </c:pt>
                <c:pt idx="128">
                  <c:v>29-IV.</c:v>
                </c:pt>
                <c:pt idx="129">
                  <c:v>30-IV.</c:v>
                </c:pt>
                <c:pt idx="130">
                  <c:v>1-V.</c:v>
                </c:pt>
                <c:pt idx="131">
                  <c:v>2-V.</c:v>
                </c:pt>
                <c:pt idx="132">
                  <c:v>3-V.</c:v>
                </c:pt>
                <c:pt idx="133">
                  <c:v>4-V.</c:v>
                </c:pt>
                <c:pt idx="134">
                  <c:v>5-V.</c:v>
                </c:pt>
                <c:pt idx="135">
                  <c:v>6-V.</c:v>
                </c:pt>
                <c:pt idx="136">
                  <c:v>7-V.</c:v>
                </c:pt>
                <c:pt idx="137">
                  <c:v>8-V.</c:v>
                </c:pt>
                <c:pt idx="138">
                  <c:v>9-V.</c:v>
                </c:pt>
                <c:pt idx="139">
                  <c:v>10-V.</c:v>
                </c:pt>
                <c:pt idx="140">
                  <c:v>11-V.</c:v>
                </c:pt>
                <c:pt idx="141">
                  <c:v>12-V.</c:v>
                </c:pt>
                <c:pt idx="142">
                  <c:v>13-V.</c:v>
                </c:pt>
                <c:pt idx="143">
                  <c:v>14-V.</c:v>
                </c:pt>
                <c:pt idx="144">
                  <c:v>15-V.</c:v>
                </c:pt>
                <c:pt idx="145">
                  <c:v>16-V.</c:v>
                </c:pt>
                <c:pt idx="146">
                  <c:v>17-V.</c:v>
                </c:pt>
                <c:pt idx="147">
                  <c:v>18-V.</c:v>
                </c:pt>
                <c:pt idx="148">
                  <c:v>19-V.</c:v>
                </c:pt>
                <c:pt idx="149">
                  <c:v>20-V.</c:v>
                </c:pt>
                <c:pt idx="150">
                  <c:v>21-V.</c:v>
                </c:pt>
                <c:pt idx="151">
                  <c:v>22-V.</c:v>
                </c:pt>
                <c:pt idx="152">
                  <c:v>23-V.</c:v>
                </c:pt>
                <c:pt idx="153">
                  <c:v>24-V.</c:v>
                </c:pt>
                <c:pt idx="154">
                  <c:v>25-V.</c:v>
                </c:pt>
                <c:pt idx="155">
                  <c:v>26-V.</c:v>
                </c:pt>
                <c:pt idx="156">
                  <c:v>27-V.</c:v>
                </c:pt>
                <c:pt idx="157">
                  <c:v>28-V.</c:v>
                </c:pt>
                <c:pt idx="158">
                  <c:v>29-V.</c:v>
                </c:pt>
                <c:pt idx="159">
                  <c:v>30-V.</c:v>
                </c:pt>
                <c:pt idx="160">
                  <c:v>31-V.</c:v>
                </c:pt>
                <c:pt idx="161">
                  <c:v>1-VI.</c:v>
                </c:pt>
                <c:pt idx="162">
                  <c:v>2-VI.</c:v>
                </c:pt>
                <c:pt idx="163">
                  <c:v>3-VI.</c:v>
                </c:pt>
                <c:pt idx="164">
                  <c:v>4-VI.</c:v>
                </c:pt>
                <c:pt idx="165">
                  <c:v>5-VI.</c:v>
                </c:pt>
                <c:pt idx="166">
                  <c:v>6-VI.</c:v>
                </c:pt>
                <c:pt idx="167">
                  <c:v>7-VI.</c:v>
                </c:pt>
                <c:pt idx="168">
                  <c:v>8-VI.</c:v>
                </c:pt>
                <c:pt idx="169">
                  <c:v>9-VI.</c:v>
                </c:pt>
                <c:pt idx="170">
                  <c:v>10-VI.</c:v>
                </c:pt>
                <c:pt idx="171">
                  <c:v>11-VI.</c:v>
                </c:pt>
                <c:pt idx="172">
                  <c:v>12-VI.</c:v>
                </c:pt>
                <c:pt idx="173">
                  <c:v>13-VI.</c:v>
                </c:pt>
                <c:pt idx="174">
                  <c:v>14-VI.</c:v>
                </c:pt>
                <c:pt idx="175">
                  <c:v>15-VI.</c:v>
                </c:pt>
                <c:pt idx="176">
                  <c:v>16-VI.</c:v>
                </c:pt>
                <c:pt idx="177">
                  <c:v>17-VI.</c:v>
                </c:pt>
                <c:pt idx="178">
                  <c:v>18-VI.</c:v>
                </c:pt>
                <c:pt idx="179">
                  <c:v>19-VI.</c:v>
                </c:pt>
                <c:pt idx="180">
                  <c:v>20-VI.</c:v>
                </c:pt>
                <c:pt idx="181">
                  <c:v>21-VI.</c:v>
                </c:pt>
                <c:pt idx="182">
                  <c:v>22-VI.</c:v>
                </c:pt>
                <c:pt idx="183">
                  <c:v>23-VI.</c:v>
                </c:pt>
                <c:pt idx="184">
                  <c:v>24-VI.</c:v>
                </c:pt>
                <c:pt idx="185">
                  <c:v>25-VI.</c:v>
                </c:pt>
                <c:pt idx="186">
                  <c:v>26-VI.</c:v>
                </c:pt>
                <c:pt idx="187">
                  <c:v>27-VI.</c:v>
                </c:pt>
                <c:pt idx="188">
                  <c:v>28-VI.</c:v>
                </c:pt>
                <c:pt idx="189">
                  <c:v>29-VI.</c:v>
                </c:pt>
                <c:pt idx="190">
                  <c:v>30-VI.</c:v>
                </c:pt>
                <c:pt idx="191">
                  <c:v>1-VII.</c:v>
                </c:pt>
                <c:pt idx="192">
                  <c:v>2-VII.</c:v>
                </c:pt>
                <c:pt idx="193">
                  <c:v>3-VII.</c:v>
                </c:pt>
                <c:pt idx="194">
                  <c:v>4-VII.</c:v>
                </c:pt>
                <c:pt idx="195">
                  <c:v>5-VII.</c:v>
                </c:pt>
                <c:pt idx="196">
                  <c:v>6-VII.</c:v>
                </c:pt>
                <c:pt idx="197">
                  <c:v>7-VII.</c:v>
                </c:pt>
                <c:pt idx="198">
                  <c:v>8-VII.</c:v>
                </c:pt>
                <c:pt idx="199">
                  <c:v>9-VII.</c:v>
                </c:pt>
                <c:pt idx="200">
                  <c:v>10-VII.</c:v>
                </c:pt>
                <c:pt idx="201">
                  <c:v>11-VII.</c:v>
                </c:pt>
                <c:pt idx="202">
                  <c:v>12-VII.</c:v>
                </c:pt>
                <c:pt idx="203">
                  <c:v>13-VII.</c:v>
                </c:pt>
                <c:pt idx="204">
                  <c:v>14-VII.</c:v>
                </c:pt>
                <c:pt idx="205">
                  <c:v>15-VII.</c:v>
                </c:pt>
                <c:pt idx="206">
                  <c:v>16-VII.</c:v>
                </c:pt>
                <c:pt idx="207">
                  <c:v>17-VII.</c:v>
                </c:pt>
                <c:pt idx="208">
                  <c:v>18-VII.</c:v>
                </c:pt>
                <c:pt idx="209">
                  <c:v>19-VII.</c:v>
                </c:pt>
                <c:pt idx="210">
                  <c:v>20-VII.</c:v>
                </c:pt>
                <c:pt idx="211">
                  <c:v>21-VII.</c:v>
                </c:pt>
                <c:pt idx="212">
                  <c:v>22-VII.</c:v>
                </c:pt>
                <c:pt idx="213">
                  <c:v>23-VII.</c:v>
                </c:pt>
                <c:pt idx="214">
                  <c:v>24-VII.</c:v>
                </c:pt>
                <c:pt idx="215">
                  <c:v>25-VII.</c:v>
                </c:pt>
                <c:pt idx="216">
                  <c:v>26-VII.</c:v>
                </c:pt>
                <c:pt idx="217">
                  <c:v>27-VII.</c:v>
                </c:pt>
                <c:pt idx="218">
                  <c:v>28-VII.</c:v>
                </c:pt>
                <c:pt idx="219">
                  <c:v>29-VII.</c:v>
                </c:pt>
                <c:pt idx="220">
                  <c:v>30-VII.</c:v>
                </c:pt>
                <c:pt idx="221">
                  <c:v>31-VII.</c:v>
                </c:pt>
                <c:pt idx="222">
                  <c:v>1-VIII.</c:v>
                </c:pt>
                <c:pt idx="223">
                  <c:v>2-VIII.</c:v>
                </c:pt>
                <c:pt idx="224">
                  <c:v>3-VIII.</c:v>
                </c:pt>
                <c:pt idx="225">
                  <c:v>4-VIII.</c:v>
                </c:pt>
                <c:pt idx="226">
                  <c:v>5-VIII.</c:v>
                </c:pt>
                <c:pt idx="227">
                  <c:v>6-VIII.</c:v>
                </c:pt>
                <c:pt idx="228">
                  <c:v>7-VIII.</c:v>
                </c:pt>
                <c:pt idx="229">
                  <c:v>8-VIII.</c:v>
                </c:pt>
                <c:pt idx="230">
                  <c:v>9-VIII.</c:v>
                </c:pt>
                <c:pt idx="231">
                  <c:v>10-VIII.</c:v>
                </c:pt>
                <c:pt idx="232">
                  <c:v>11-VIII.</c:v>
                </c:pt>
                <c:pt idx="233">
                  <c:v>12-VIII.</c:v>
                </c:pt>
                <c:pt idx="234">
                  <c:v>13-VIII.</c:v>
                </c:pt>
                <c:pt idx="235">
                  <c:v>14-VIII.</c:v>
                </c:pt>
                <c:pt idx="236">
                  <c:v>15-VIII.</c:v>
                </c:pt>
                <c:pt idx="237">
                  <c:v>16-VIII.</c:v>
                </c:pt>
                <c:pt idx="238">
                  <c:v>17-VIII.</c:v>
                </c:pt>
                <c:pt idx="239">
                  <c:v>18-VIII.</c:v>
                </c:pt>
                <c:pt idx="240">
                  <c:v>19-VIII.</c:v>
                </c:pt>
                <c:pt idx="241">
                  <c:v>20-VIII.</c:v>
                </c:pt>
                <c:pt idx="242">
                  <c:v>21-VIII.</c:v>
                </c:pt>
                <c:pt idx="243">
                  <c:v>22-VIII.</c:v>
                </c:pt>
                <c:pt idx="244">
                  <c:v>23-VIII.</c:v>
                </c:pt>
                <c:pt idx="245">
                  <c:v>24-VIII.</c:v>
                </c:pt>
                <c:pt idx="246">
                  <c:v>25-VIII.</c:v>
                </c:pt>
                <c:pt idx="247">
                  <c:v>26-VIII.</c:v>
                </c:pt>
                <c:pt idx="248">
                  <c:v>27-VIII.</c:v>
                </c:pt>
                <c:pt idx="249">
                  <c:v>28-VIII.</c:v>
                </c:pt>
                <c:pt idx="250">
                  <c:v>29-VIII.</c:v>
                </c:pt>
                <c:pt idx="251">
                  <c:v>30-VIII.</c:v>
                </c:pt>
                <c:pt idx="252">
                  <c:v>31-VIII.</c:v>
                </c:pt>
                <c:pt idx="253">
                  <c:v>1-IX.</c:v>
                </c:pt>
                <c:pt idx="254">
                  <c:v>2-IX.</c:v>
                </c:pt>
                <c:pt idx="255">
                  <c:v>3-IX.</c:v>
                </c:pt>
                <c:pt idx="256">
                  <c:v>4-IX.</c:v>
                </c:pt>
                <c:pt idx="257">
                  <c:v>5-IX.</c:v>
                </c:pt>
                <c:pt idx="258">
                  <c:v>6-IX.</c:v>
                </c:pt>
                <c:pt idx="259">
                  <c:v>7-IX.</c:v>
                </c:pt>
                <c:pt idx="260">
                  <c:v>8-IX.</c:v>
                </c:pt>
                <c:pt idx="261">
                  <c:v>9-IX.</c:v>
                </c:pt>
                <c:pt idx="262">
                  <c:v>10-IX.</c:v>
                </c:pt>
                <c:pt idx="263">
                  <c:v>11-IX.</c:v>
                </c:pt>
                <c:pt idx="264">
                  <c:v>12-IX.</c:v>
                </c:pt>
                <c:pt idx="265">
                  <c:v>13-IX.</c:v>
                </c:pt>
                <c:pt idx="266">
                  <c:v>14-IX.</c:v>
                </c:pt>
                <c:pt idx="267">
                  <c:v>15-IX.</c:v>
                </c:pt>
                <c:pt idx="268">
                  <c:v>16-IX.</c:v>
                </c:pt>
                <c:pt idx="269">
                  <c:v>17-IX.</c:v>
                </c:pt>
                <c:pt idx="270">
                  <c:v>18-IX.</c:v>
                </c:pt>
                <c:pt idx="271">
                  <c:v>19-IX.</c:v>
                </c:pt>
                <c:pt idx="272">
                  <c:v>20-IX.</c:v>
                </c:pt>
                <c:pt idx="273">
                  <c:v>21-IX.</c:v>
                </c:pt>
                <c:pt idx="274">
                  <c:v>22-IX.</c:v>
                </c:pt>
                <c:pt idx="275">
                  <c:v>23-IX.</c:v>
                </c:pt>
                <c:pt idx="276">
                  <c:v>24-IX.</c:v>
                </c:pt>
                <c:pt idx="277">
                  <c:v>25-IX.</c:v>
                </c:pt>
                <c:pt idx="278">
                  <c:v>26-IX.</c:v>
                </c:pt>
                <c:pt idx="279">
                  <c:v>27-IX.</c:v>
                </c:pt>
                <c:pt idx="280">
                  <c:v>28-IX.</c:v>
                </c:pt>
                <c:pt idx="281">
                  <c:v>29-IX.</c:v>
                </c:pt>
                <c:pt idx="282">
                  <c:v>30-IX.</c:v>
                </c:pt>
                <c:pt idx="283">
                  <c:v>1-X.</c:v>
                </c:pt>
                <c:pt idx="284">
                  <c:v>2-X.</c:v>
                </c:pt>
                <c:pt idx="285">
                  <c:v>3-X.</c:v>
                </c:pt>
                <c:pt idx="286">
                  <c:v>4-X.</c:v>
                </c:pt>
                <c:pt idx="287">
                  <c:v>5-X.</c:v>
                </c:pt>
                <c:pt idx="288">
                  <c:v>6-X.</c:v>
                </c:pt>
                <c:pt idx="289">
                  <c:v>7-X.</c:v>
                </c:pt>
                <c:pt idx="290">
                  <c:v>8-X.</c:v>
                </c:pt>
                <c:pt idx="291">
                  <c:v>9-X.</c:v>
                </c:pt>
                <c:pt idx="292">
                  <c:v>10-X.</c:v>
                </c:pt>
                <c:pt idx="293">
                  <c:v>11-X.</c:v>
                </c:pt>
                <c:pt idx="294">
                  <c:v>12-X.</c:v>
                </c:pt>
                <c:pt idx="295">
                  <c:v>13-X.</c:v>
                </c:pt>
                <c:pt idx="296">
                  <c:v>14-X.</c:v>
                </c:pt>
                <c:pt idx="297">
                  <c:v>15-X.</c:v>
                </c:pt>
                <c:pt idx="298">
                  <c:v>16-X.</c:v>
                </c:pt>
                <c:pt idx="299">
                  <c:v>17-X.</c:v>
                </c:pt>
                <c:pt idx="300">
                  <c:v>18-X.</c:v>
                </c:pt>
                <c:pt idx="301">
                  <c:v>19-X.</c:v>
                </c:pt>
                <c:pt idx="302">
                  <c:v>20-X.</c:v>
                </c:pt>
                <c:pt idx="303">
                  <c:v>21-X.</c:v>
                </c:pt>
                <c:pt idx="304">
                  <c:v>22-X.</c:v>
                </c:pt>
                <c:pt idx="305">
                  <c:v>23-X.</c:v>
                </c:pt>
                <c:pt idx="306">
                  <c:v>24-X.</c:v>
                </c:pt>
                <c:pt idx="307">
                  <c:v>25-X.</c:v>
                </c:pt>
                <c:pt idx="308">
                  <c:v>26-X.</c:v>
                </c:pt>
              </c:strCache>
            </c:strRef>
          </c:cat>
          <c:val>
            <c:numRef>
              <c:f>List1!$D$4:$KZ$4</c:f>
              <c:numCache>
                <c:formatCode>General</c:formatCode>
                <c:ptCount val="309"/>
                <c:pt idx="5">
                  <c:v>195</c:v>
                </c:pt>
                <c:pt idx="6">
                  <c:v>644</c:v>
                </c:pt>
                <c:pt idx="7">
                  <c:v>1251</c:v>
                </c:pt>
                <c:pt idx="8">
                  <c:v>1876</c:v>
                </c:pt>
                <c:pt idx="9">
                  <c:v>2048</c:v>
                </c:pt>
                <c:pt idx="10">
                  <c:v>2078</c:v>
                </c:pt>
                <c:pt idx="11">
                  <c:v>2367</c:v>
                </c:pt>
                <c:pt idx="12">
                  <c:v>2578</c:v>
                </c:pt>
                <c:pt idx="13">
                  <c:v>3204</c:v>
                </c:pt>
                <c:pt idx="14">
                  <c:v>4166</c:v>
                </c:pt>
                <c:pt idx="15">
                  <c:v>5585</c:v>
                </c:pt>
                <c:pt idx="16">
                  <c:v>7184</c:v>
                </c:pt>
                <c:pt idx="17">
                  <c:v>9028</c:v>
                </c:pt>
                <c:pt idx="18">
                  <c:v>9335</c:v>
                </c:pt>
                <c:pt idx="19">
                  <c:v>9642</c:v>
                </c:pt>
                <c:pt idx="20">
                  <c:v>11509</c:v>
                </c:pt>
                <c:pt idx="21">
                  <c:v>13799</c:v>
                </c:pt>
                <c:pt idx="22">
                  <c:v>15834</c:v>
                </c:pt>
                <c:pt idx="23">
                  <c:v>17715</c:v>
                </c:pt>
                <c:pt idx="24">
                  <c:v>19323</c:v>
                </c:pt>
                <c:pt idx="25">
                  <c:v>19540</c:v>
                </c:pt>
                <c:pt idx="26">
                  <c:v>19637</c:v>
                </c:pt>
                <c:pt idx="27">
                  <c:v>20810</c:v>
                </c:pt>
                <c:pt idx="28">
                  <c:v>21748</c:v>
                </c:pt>
                <c:pt idx="29">
                  <c:v>22686</c:v>
                </c:pt>
                <c:pt idx="30">
                  <c:v>23544</c:v>
                </c:pt>
                <c:pt idx="31">
                  <c:v>24291</c:v>
                </c:pt>
                <c:pt idx="32">
                  <c:v>24354</c:v>
                </c:pt>
                <c:pt idx="33">
                  <c:v>24398</c:v>
                </c:pt>
                <c:pt idx="34">
                  <c:v>24847</c:v>
                </c:pt>
                <c:pt idx="35">
                  <c:v>25300</c:v>
                </c:pt>
                <c:pt idx="36">
                  <c:v>25696</c:v>
                </c:pt>
                <c:pt idx="37">
                  <c:v>26096</c:v>
                </c:pt>
                <c:pt idx="38">
                  <c:v>26481</c:v>
                </c:pt>
                <c:pt idx="39">
                  <c:v>26505</c:v>
                </c:pt>
                <c:pt idx="40">
                  <c:v>26537</c:v>
                </c:pt>
                <c:pt idx="41">
                  <c:v>26830</c:v>
                </c:pt>
                <c:pt idx="42">
                  <c:v>27118</c:v>
                </c:pt>
                <c:pt idx="43">
                  <c:v>27352</c:v>
                </c:pt>
                <c:pt idx="44">
                  <c:v>27533</c:v>
                </c:pt>
                <c:pt idx="45">
                  <c:v>27768</c:v>
                </c:pt>
                <c:pt idx="46">
                  <c:v>27777</c:v>
                </c:pt>
                <c:pt idx="47">
                  <c:v>27795</c:v>
                </c:pt>
                <c:pt idx="48">
                  <c:v>28031</c:v>
                </c:pt>
                <c:pt idx="49">
                  <c:v>28226</c:v>
                </c:pt>
                <c:pt idx="50">
                  <c:v>28493</c:v>
                </c:pt>
                <c:pt idx="51">
                  <c:v>28843</c:v>
                </c:pt>
                <c:pt idx="52">
                  <c:v>29234</c:v>
                </c:pt>
                <c:pt idx="53">
                  <c:v>29343</c:v>
                </c:pt>
                <c:pt idx="54">
                  <c:v>29409</c:v>
                </c:pt>
                <c:pt idx="55">
                  <c:v>29824</c:v>
                </c:pt>
                <c:pt idx="56">
                  <c:v>30332</c:v>
                </c:pt>
                <c:pt idx="57">
                  <c:v>30877</c:v>
                </c:pt>
                <c:pt idx="58">
                  <c:v>31434</c:v>
                </c:pt>
                <c:pt idx="59">
                  <c:v>32085</c:v>
                </c:pt>
                <c:pt idx="60">
                  <c:v>32310</c:v>
                </c:pt>
                <c:pt idx="61">
                  <c:v>32366</c:v>
                </c:pt>
                <c:pt idx="62">
                  <c:v>33051</c:v>
                </c:pt>
                <c:pt idx="63">
                  <c:v>34049</c:v>
                </c:pt>
                <c:pt idx="64">
                  <c:v>35128</c:v>
                </c:pt>
                <c:pt idx="65">
                  <c:v>36279</c:v>
                </c:pt>
                <c:pt idx="66">
                  <c:v>37356</c:v>
                </c:pt>
                <c:pt idx="67">
                  <c:v>37514</c:v>
                </c:pt>
                <c:pt idx="68">
                  <c:v>37642</c:v>
                </c:pt>
                <c:pt idx="69">
                  <c:v>38756</c:v>
                </c:pt>
                <c:pt idx="70">
                  <c:v>39970</c:v>
                </c:pt>
                <c:pt idx="71">
                  <c:v>41080</c:v>
                </c:pt>
                <c:pt idx="72">
                  <c:v>42081</c:v>
                </c:pt>
                <c:pt idx="73">
                  <c:v>43265</c:v>
                </c:pt>
                <c:pt idx="74">
                  <c:v>43552</c:v>
                </c:pt>
                <c:pt idx="75">
                  <c:v>43765</c:v>
                </c:pt>
                <c:pt idx="76">
                  <c:v>44609</c:v>
                </c:pt>
                <c:pt idx="77">
                  <c:v>45429</c:v>
                </c:pt>
                <c:pt idx="78">
                  <c:v>46325</c:v>
                </c:pt>
                <c:pt idx="79">
                  <c:v>47521</c:v>
                </c:pt>
                <c:pt idx="80">
                  <c:v>48627</c:v>
                </c:pt>
                <c:pt idx="81">
                  <c:v>48912</c:v>
                </c:pt>
                <c:pt idx="82">
                  <c:v>49153</c:v>
                </c:pt>
                <c:pt idx="83">
                  <c:v>49780</c:v>
                </c:pt>
                <c:pt idx="84">
                  <c:v>50707</c:v>
                </c:pt>
                <c:pt idx="85">
                  <c:v>51646</c:v>
                </c:pt>
                <c:pt idx="86">
                  <c:v>52424</c:v>
                </c:pt>
                <c:pt idx="87">
                  <c:v>53378</c:v>
                </c:pt>
                <c:pt idx="88">
                  <c:v>53778</c:v>
                </c:pt>
                <c:pt idx="89">
                  <c:v>53984</c:v>
                </c:pt>
                <c:pt idx="90">
                  <c:v>54435</c:v>
                </c:pt>
                <c:pt idx="91">
                  <c:v>54927</c:v>
                </c:pt>
                <c:pt idx="92">
                  <c:v>55342</c:v>
                </c:pt>
                <c:pt idx="93">
                  <c:v>55891</c:v>
                </c:pt>
                <c:pt idx="94">
                  <c:v>56467</c:v>
                </c:pt>
                <c:pt idx="95">
                  <c:v>56626</c:v>
                </c:pt>
                <c:pt idx="96">
                  <c:v>56760</c:v>
                </c:pt>
                <c:pt idx="97">
                  <c:v>57071</c:v>
                </c:pt>
                <c:pt idx="98">
                  <c:v>57493</c:v>
                </c:pt>
                <c:pt idx="99">
                  <c:v>57990</c:v>
                </c:pt>
                <c:pt idx="100">
                  <c:v>58419</c:v>
                </c:pt>
                <c:pt idx="101">
                  <c:v>58507</c:v>
                </c:pt>
                <c:pt idx="102">
                  <c:v>58565</c:v>
                </c:pt>
                <c:pt idx="103">
                  <c:v>58603</c:v>
                </c:pt>
                <c:pt idx="104">
                  <c:v>58632</c:v>
                </c:pt>
                <c:pt idx="105">
                  <c:v>58862</c:v>
                </c:pt>
                <c:pt idx="106">
                  <c:v>59123</c:v>
                </c:pt>
                <c:pt idx="107">
                  <c:v>59661</c:v>
                </c:pt>
                <c:pt idx="108">
                  <c:v>60161</c:v>
                </c:pt>
                <c:pt idx="109">
                  <c:v>60333</c:v>
                </c:pt>
                <c:pt idx="110">
                  <c:v>60448</c:v>
                </c:pt>
                <c:pt idx="111">
                  <c:v>60822</c:v>
                </c:pt>
                <c:pt idx="112">
                  <c:v>61135</c:v>
                </c:pt>
                <c:pt idx="113">
                  <c:v>61518</c:v>
                </c:pt>
                <c:pt idx="114">
                  <c:v>62070</c:v>
                </c:pt>
                <c:pt idx="115">
                  <c:v>62714</c:v>
                </c:pt>
                <c:pt idx="116">
                  <c:v>62890</c:v>
                </c:pt>
                <c:pt idx="117">
                  <c:v>63085</c:v>
                </c:pt>
                <c:pt idx="118">
                  <c:v>63538</c:v>
                </c:pt>
                <c:pt idx="119">
                  <c:v>63964</c:v>
                </c:pt>
                <c:pt idx="120">
                  <c:v>64460</c:v>
                </c:pt>
                <c:pt idx="121">
                  <c:v>65061</c:v>
                </c:pt>
                <c:pt idx="122">
                  <c:v>65706</c:v>
                </c:pt>
                <c:pt idx="123">
                  <c:v>65886</c:v>
                </c:pt>
                <c:pt idx="124">
                  <c:v>66036</c:v>
                </c:pt>
                <c:pt idx="125">
                  <c:v>66520</c:v>
                </c:pt>
                <c:pt idx="126">
                  <c:v>66946</c:v>
                </c:pt>
                <c:pt idx="127">
                  <c:v>67508</c:v>
                </c:pt>
                <c:pt idx="128">
                  <c:v>68093</c:v>
                </c:pt>
                <c:pt idx="129">
                  <c:v>68711</c:v>
                </c:pt>
                <c:pt idx="130">
                  <c:v>68865</c:v>
                </c:pt>
                <c:pt idx="131">
                  <c:v>69021</c:v>
                </c:pt>
                <c:pt idx="132">
                  <c:v>69476</c:v>
                </c:pt>
                <c:pt idx="133">
                  <c:v>69930</c:v>
                </c:pt>
                <c:pt idx="134">
                  <c:v>70451</c:v>
                </c:pt>
                <c:pt idx="135">
                  <c:v>70978</c:v>
                </c:pt>
                <c:pt idx="136">
                  <c:v>71540</c:v>
                </c:pt>
                <c:pt idx="137">
                  <c:v>71759</c:v>
                </c:pt>
                <c:pt idx="138">
                  <c:v>71930</c:v>
                </c:pt>
                <c:pt idx="139">
                  <c:v>72406</c:v>
                </c:pt>
                <c:pt idx="140">
                  <c:v>72834</c:v>
                </c:pt>
                <c:pt idx="141">
                  <c:v>73308</c:v>
                </c:pt>
                <c:pt idx="142">
                  <c:v>73848</c:v>
                </c:pt>
                <c:pt idx="143">
                  <c:v>74356</c:v>
                </c:pt>
                <c:pt idx="144">
                  <c:v>74566</c:v>
                </c:pt>
                <c:pt idx="145">
                  <c:v>74716</c:v>
                </c:pt>
                <c:pt idx="146">
                  <c:v>75099</c:v>
                </c:pt>
                <c:pt idx="147">
                  <c:v>75511</c:v>
                </c:pt>
                <c:pt idx="148">
                  <c:v>75967</c:v>
                </c:pt>
                <c:pt idx="149">
                  <c:v>76405</c:v>
                </c:pt>
                <c:pt idx="150">
                  <c:v>76856</c:v>
                </c:pt>
                <c:pt idx="151">
                  <c:v>77032</c:v>
                </c:pt>
                <c:pt idx="152">
                  <c:v>77147</c:v>
                </c:pt>
                <c:pt idx="153">
                  <c:v>77435</c:v>
                </c:pt>
                <c:pt idx="154">
                  <c:v>77761</c:v>
                </c:pt>
                <c:pt idx="155">
                  <c:v>78168</c:v>
                </c:pt>
                <c:pt idx="156">
                  <c:v>78537</c:v>
                </c:pt>
                <c:pt idx="157">
                  <c:v>78969</c:v>
                </c:pt>
                <c:pt idx="158">
                  <c:v>79153</c:v>
                </c:pt>
                <c:pt idx="159">
                  <c:v>79319</c:v>
                </c:pt>
                <c:pt idx="160">
                  <c:v>79655</c:v>
                </c:pt>
                <c:pt idx="161">
                  <c:v>80025</c:v>
                </c:pt>
                <c:pt idx="162">
                  <c:v>80475</c:v>
                </c:pt>
                <c:pt idx="163">
                  <c:v>80889</c:v>
                </c:pt>
                <c:pt idx="164">
                  <c:v>81346</c:v>
                </c:pt>
                <c:pt idx="165">
                  <c:v>81602</c:v>
                </c:pt>
                <c:pt idx="166">
                  <c:v>81839</c:v>
                </c:pt>
                <c:pt idx="167">
                  <c:v>82311</c:v>
                </c:pt>
                <c:pt idx="168">
                  <c:v>82850</c:v>
                </c:pt>
                <c:pt idx="169">
                  <c:v>83332</c:v>
                </c:pt>
                <c:pt idx="170">
                  <c:v>83763</c:v>
                </c:pt>
                <c:pt idx="171">
                  <c:v>84217</c:v>
                </c:pt>
                <c:pt idx="172">
                  <c:v>84503</c:v>
                </c:pt>
                <c:pt idx="173">
                  <c:v>84726</c:v>
                </c:pt>
                <c:pt idx="174">
                  <c:v>85084</c:v>
                </c:pt>
                <c:pt idx="175">
                  <c:v>85508</c:v>
                </c:pt>
                <c:pt idx="176">
                  <c:v>85898</c:v>
                </c:pt>
                <c:pt idx="177">
                  <c:v>86262</c:v>
                </c:pt>
                <c:pt idx="178">
                  <c:v>86635</c:v>
                </c:pt>
                <c:pt idx="179">
                  <c:v>86821</c:v>
                </c:pt>
                <c:pt idx="180">
                  <c:v>86960</c:v>
                </c:pt>
                <c:pt idx="181">
                  <c:v>87252</c:v>
                </c:pt>
                <c:pt idx="182">
                  <c:v>87570</c:v>
                </c:pt>
                <c:pt idx="183">
                  <c:v>87821</c:v>
                </c:pt>
                <c:pt idx="184">
                  <c:v>88111</c:v>
                </c:pt>
                <c:pt idx="185">
                  <c:v>88365</c:v>
                </c:pt>
                <c:pt idx="186">
                  <c:v>88514</c:v>
                </c:pt>
                <c:pt idx="187">
                  <c:v>88623</c:v>
                </c:pt>
                <c:pt idx="188">
                  <c:v>88891</c:v>
                </c:pt>
                <c:pt idx="189">
                  <c:v>89134</c:v>
                </c:pt>
                <c:pt idx="190">
                  <c:v>89373</c:v>
                </c:pt>
                <c:pt idx="191">
                  <c:v>89551</c:v>
                </c:pt>
                <c:pt idx="192">
                  <c:v>89784</c:v>
                </c:pt>
                <c:pt idx="193">
                  <c:v>89837</c:v>
                </c:pt>
                <c:pt idx="194">
                  <c:v>89896</c:v>
                </c:pt>
                <c:pt idx="195">
                  <c:v>89952</c:v>
                </c:pt>
                <c:pt idx="196">
                  <c:v>90009</c:v>
                </c:pt>
                <c:pt idx="197">
                  <c:v>90216</c:v>
                </c:pt>
                <c:pt idx="198">
                  <c:v>90430</c:v>
                </c:pt>
                <c:pt idx="199">
                  <c:v>90653</c:v>
                </c:pt>
                <c:pt idx="200">
                  <c:v>90745</c:v>
                </c:pt>
                <c:pt idx="201">
                  <c:v>90803</c:v>
                </c:pt>
                <c:pt idx="202">
                  <c:v>91038</c:v>
                </c:pt>
                <c:pt idx="203">
                  <c:v>91258</c:v>
                </c:pt>
                <c:pt idx="204">
                  <c:v>91492</c:v>
                </c:pt>
                <c:pt idx="205">
                  <c:v>91738</c:v>
                </c:pt>
                <c:pt idx="206">
                  <c:v>91985</c:v>
                </c:pt>
                <c:pt idx="207">
                  <c:v>92093</c:v>
                </c:pt>
                <c:pt idx="208">
                  <c:v>92162</c:v>
                </c:pt>
                <c:pt idx="209">
                  <c:v>92363</c:v>
                </c:pt>
                <c:pt idx="210">
                  <c:v>92523</c:v>
                </c:pt>
                <c:pt idx="211">
                  <c:v>92740</c:v>
                </c:pt>
                <c:pt idx="212">
                  <c:v>92920</c:v>
                </c:pt>
                <c:pt idx="213">
                  <c:v>93131</c:v>
                </c:pt>
                <c:pt idx="214">
                  <c:v>93193</c:v>
                </c:pt>
                <c:pt idx="215">
                  <c:v>93247</c:v>
                </c:pt>
                <c:pt idx="216">
                  <c:v>93426</c:v>
                </c:pt>
                <c:pt idx="217">
                  <c:v>93625</c:v>
                </c:pt>
                <c:pt idx="218">
                  <c:v>93798</c:v>
                </c:pt>
                <c:pt idx="219">
                  <c:v>93956</c:v>
                </c:pt>
                <c:pt idx="220">
                  <c:v>94162</c:v>
                </c:pt>
                <c:pt idx="221">
                  <c:v>94228</c:v>
                </c:pt>
                <c:pt idx="222">
                  <c:v>94276</c:v>
                </c:pt>
                <c:pt idx="223">
                  <c:v>94421</c:v>
                </c:pt>
                <c:pt idx="224">
                  <c:v>94549</c:v>
                </c:pt>
                <c:pt idx="225">
                  <c:v>94694</c:v>
                </c:pt>
                <c:pt idx="226">
                  <c:v>94818</c:v>
                </c:pt>
                <c:pt idx="227">
                  <c:v>94945</c:v>
                </c:pt>
                <c:pt idx="228">
                  <c:v>94982</c:v>
                </c:pt>
                <c:pt idx="229">
                  <c:v>95016</c:v>
                </c:pt>
                <c:pt idx="230">
                  <c:v>95118</c:v>
                </c:pt>
                <c:pt idx="231">
                  <c:v>95232</c:v>
                </c:pt>
                <c:pt idx="232">
                  <c:v>95305</c:v>
                </c:pt>
                <c:pt idx="233">
                  <c:v>95408</c:v>
                </c:pt>
                <c:pt idx="234">
                  <c:v>95510</c:v>
                </c:pt>
                <c:pt idx="235">
                  <c:v>95535</c:v>
                </c:pt>
                <c:pt idx="236">
                  <c:v>95554</c:v>
                </c:pt>
                <c:pt idx="237">
                  <c:v>95635</c:v>
                </c:pt>
                <c:pt idx="238">
                  <c:v>95713</c:v>
                </c:pt>
                <c:pt idx="239">
                  <c:v>95790</c:v>
                </c:pt>
                <c:pt idx="240">
                  <c:v>95860</c:v>
                </c:pt>
                <c:pt idx="241">
                  <c:v>95957</c:v>
                </c:pt>
                <c:pt idx="242">
                  <c:v>95975</c:v>
                </c:pt>
                <c:pt idx="243">
                  <c:v>95992</c:v>
                </c:pt>
                <c:pt idx="244">
                  <c:v>96084</c:v>
                </c:pt>
                <c:pt idx="245">
                  <c:v>96161</c:v>
                </c:pt>
                <c:pt idx="246">
                  <c:v>96236</c:v>
                </c:pt>
                <c:pt idx="247">
                  <c:v>96297</c:v>
                </c:pt>
                <c:pt idx="248">
                  <c:v>96398</c:v>
                </c:pt>
                <c:pt idx="249">
                  <c:v>96422</c:v>
                </c:pt>
                <c:pt idx="250">
                  <c:v>96432</c:v>
                </c:pt>
                <c:pt idx="251">
                  <c:v>96509</c:v>
                </c:pt>
                <c:pt idx="252">
                  <c:v>96587</c:v>
                </c:pt>
                <c:pt idx="253">
                  <c:v>96633</c:v>
                </c:pt>
                <c:pt idx="254">
                  <c:v>96705</c:v>
                </c:pt>
                <c:pt idx="255">
                  <c:v>96799</c:v>
                </c:pt>
                <c:pt idx="256">
                  <c:v>96814</c:v>
                </c:pt>
                <c:pt idx="257">
                  <c:v>96832</c:v>
                </c:pt>
                <c:pt idx="258">
                  <c:v>96896</c:v>
                </c:pt>
                <c:pt idx="259">
                  <c:v>96931</c:v>
                </c:pt>
                <c:pt idx="260">
                  <c:v>96984</c:v>
                </c:pt>
                <c:pt idx="261">
                  <c:v>97043</c:v>
                </c:pt>
                <c:pt idx="262">
                  <c:v>97111</c:v>
                </c:pt>
                <c:pt idx="263">
                  <c:v>97126</c:v>
                </c:pt>
                <c:pt idx="264">
                  <c:v>97139</c:v>
                </c:pt>
                <c:pt idx="265">
                  <c:v>97187</c:v>
                </c:pt>
                <c:pt idx="266">
                  <c:v>97238</c:v>
                </c:pt>
                <c:pt idx="267">
                  <c:v>97282</c:v>
                </c:pt>
                <c:pt idx="268">
                  <c:v>97328</c:v>
                </c:pt>
                <c:pt idx="269">
                  <c:v>97400</c:v>
                </c:pt>
                <c:pt idx="270">
                  <c:v>97419</c:v>
                </c:pt>
                <c:pt idx="271">
                  <c:v>97424</c:v>
                </c:pt>
                <c:pt idx="272">
                  <c:v>97467</c:v>
                </c:pt>
                <c:pt idx="273">
                  <c:v>97511</c:v>
                </c:pt>
                <c:pt idx="274">
                  <c:v>97553</c:v>
                </c:pt>
                <c:pt idx="275">
                  <c:v>97609</c:v>
                </c:pt>
                <c:pt idx="276">
                  <c:v>97678</c:v>
                </c:pt>
                <c:pt idx="277">
                  <c:v>97693</c:v>
                </c:pt>
                <c:pt idx="278">
                  <c:v>97699</c:v>
                </c:pt>
                <c:pt idx="279">
                  <c:v>97739</c:v>
                </c:pt>
                <c:pt idx="280">
                  <c:v>97743</c:v>
                </c:pt>
                <c:pt idx="281">
                  <c:v>97768</c:v>
                </c:pt>
                <c:pt idx="282">
                  <c:v>97811</c:v>
                </c:pt>
                <c:pt idx="283">
                  <c:v>97847</c:v>
                </c:pt>
                <c:pt idx="284">
                  <c:v>97855</c:v>
                </c:pt>
                <c:pt idx="285">
                  <c:v>97862</c:v>
                </c:pt>
                <c:pt idx="286">
                  <c:v>97888</c:v>
                </c:pt>
                <c:pt idx="287">
                  <c:v>97911</c:v>
                </c:pt>
                <c:pt idx="288">
                  <c:v>97946</c:v>
                </c:pt>
                <c:pt idx="289">
                  <c:v>97969</c:v>
                </c:pt>
                <c:pt idx="290">
                  <c:v>98018</c:v>
                </c:pt>
                <c:pt idx="291">
                  <c:v>98027</c:v>
                </c:pt>
                <c:pt idx="292">
                  <c:v>98033</c:v>
                </c:pt>
                <c:pt idx="293">
                  <c:v>98059</c:v>
                </c:pt>
                <c:pt idx="294">
                  <c:v>98101</c:v>
                </c:pt>
                <c:pt idx="295">
                  <c:v>98131</c:v>
                </c:pt>
                <c:pt idx="296">
                  <c:v>98154</c:v>
                </c:pt>
                <c:pt idx="297">
                  <c:v>98209</c:v>
                </c:pt>
                <c:pt idx="298">
                  <c:v>98226</c:v>
                </c:pt>
                <c:pt idx="299">
                  <c:v>98237</c:v>
                </c:pt>
                <c:pt idx="300">
                  <c:v>98294</c:v>
                </c:pt>
                <c:pt idx="301">
                  <c:v>98326</c:v>
                </c:pt>
                <c:pt idx="302">
                  <c:v>98383</c:v>
                </c:pt>
                <c:pt idx="303">
                  <c:v>98479</c:v>
                </c:pt>
                <c:pt idx="304">
                  <c:v>98621</c:v>
                </c:pt>
                <c:pt idx="305">
                  <c:v>98670</c:v>
                </c:pt>
                <c:pt idx="306">
                  <c:v>98700</c:v>
                </c:pt>
                <c:pt idx="307">
                  <c:v>98804</c:v>
                </c:pt>
                <c:pt idx="308">
                  <c:v>98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D$1:$KZ$1</c:f>
              <c:strCache>
                <c:ptCount val="309"/>
                <c:pt idx="0">
                  <c:v>22-XII.</c:v>
                </c:pt>
                <c:pt idx="1">
                  <c:v>23-XII.</c:v>
                </c:pt>
                <c:pt idx="2">
                  <c:v>24-XII.</c:v>
                </c:pt>
                <c:pt idx="3">
                  <c:v>25-XII.</c:v>
                </c:pt>
                <c:pt idx="4">
                  <c:v>26-XII.</c:v>
                </c:pt>
                <c:pt idx="5">
                  <c:v>27-XII.</c:v>
                </c:pt>
                <c:pt idx="6">
                  <c:v>28-XII.</c:v>
                </c:pt>
                <c:pt idx="7">
                  <c:v>29-XII.</c:v>
                </c:pt>
                <c:pt idx="8">
                  <c:v>30-XII.</c:v>
                </c:pt>
                <c:pt idx="9">
                  <c:v>31-XII.</c:v>
                </c:pt>
                <c:pt idx="10">
                  <c:v>1-I.</c:v>
                </c:pt>
                <c:pt idx="11">
                  <c:v>2-I.</c:v>
                </c:pt>
                <c:pt idx="12">
                  <c:v>3-I.</c:v>
                </c:pt>
                <c:pt idx="13">
                  <c:v>4-I.</c:v>
                </c:pt>
                <c:pt idx="14">
                  <c:v>5-I.</c:v>
                </c:pt>
                <c:pt idx="15">
                  <c:v>6-I.</c:v>
                </c:pt>
                <c:pt idx="16">
                  <c:v>7-I.</c:v>
                </c:pt>
                <c:pt idx="17">
                  <c:v>8-I.</c:v>
                </c:pt>
                <c:pt idx="18">
                  <c:v>9-I.</c:v>
                </c:pt>
                <c:pt idx="19">
                  <c:v>10-I.</c:v>
                </c:pt>
                <c:pt idx="20">
                  <c:v>11-I.</c:v>
                </c:pt>
                <c:pt idx="21">
                  <c:v>12-I.</c:v>
                </c:pt>
                <c:pt idx="22">
                  <c:v>13-I.</c:v>
                </c:pt>
                <c:pt idx="23">
                  <c:v>14-I.</c:v>
                </c:pt>
                <c:pt idx="24">
                  <c:v>15-I.</c:v>
                </c:pt>
                <c:pt idx="25">
                  <c:v>16-I.</c:v>
                </c:pt>
                <c:pt idx="26">
                  <c:v>17-I.</c:v>
                </c:pt>
                <c:pt idx="27">
                  <c:v>18-I.</c:v>
                </c:pt>
                <c:pt idx="28">
                  <c:v>19-I.</c:v>
                </c:pt>
                <c:pt idx="29">
                  <c:v>20-I.</c:v>
                </c:pt>
                <c:pt idx="30">
                  <c:v>21-I.</c:v>
                </c:pt>
                <c:pt idx="31">
                  <c:v>22-I.</c:v>
                </c:pt>
                <c:pt idx="32">
                  <c:v>23-I.</c:v>
                </c:pt>
                <c:pt idx="33">
                  <c:v>24-I.</c:v>
                </c:pt>
                <c:pt idx="34">
                  <c:v>25-I.</c:v>
                </c:pt>
                <c:pt idx="35">
                  <c:v>26-I.</c:v>
                </c:pt>
                <c:pt idx="36">
                  <c:v>27-I.</c:v>
                </c:pt>
                <c:pt idx="37">
                  <c:v>28-I.</c:v>
                </c:pt>
                <c:pt idx="38">
                  <c:v>29-I.</c:v>
                </c:pt>
                <c:pt idx="39">
                  <c:v>30-I.</c:v>
                </c:pt>
                <c:pt idx="40">
                  <c:v>31-I.</c:v>
                </c:pt>
                <c:pt idx="41">
                  <c:v>1-II.</c:v>
                </c:pt>
                <c:pt idx="42">
                  <c:v>2-II.</c:v>
                </c:pt>
                <c:pt idx="43">
                  <c:v>3-II.</c:v>
                </c:pt>
                <c:pt idx="44">
                  <c:v>4-II.</c:v>
                </c:pt>
                <c:pt idx="45">
                  <c:v>5-II.</c:v>
                </c:pt>
                <c:pt idx="46">
                  <c:v>6-II.</c:v>
                </c:pt>
                <c:pt idx="47">
                  <c:v>7-II.</c:v>
                </c:pt>
                <c:pt idx="48">
                  <c:v>8-II.</c:v>
                </c:pt>
                <c:pt idx="49">
                  <c:v>9-II.</c:v>
                </c:pt>
                <c:pt idx="50">
                  <c:v>10-II.</c:v>
                </c:pt>
                <c:pt idx="51">
                  <c:v>11-II.</c:v>
                </c:pt>
                <c:pt idx="52">
                  <c:v>12-II.</c:v>
                </c:pt>
                <c:pt idx="53">
                  <c:v>13-II.</c:v>
                </c:pt>
                <c:pt idx="54">
                  <c:v>14-II.</c:v>
                </c:pt>
                <c:pt idx="55">
                  <c:v>15-II.</c:v>
                </c:pt>
                <c:pt idx="56">
                  <c:v>16-II.</c:v>
                </c:pt>
                <c:pt idx="57">
                  <c:v>17-II.</c:v>
                </c:pt>
                <c:pt idx="58">
                  <c:v>18-II.</c:v>
                </c:pt>
                <c:pt idx="59">
                  <c:v>19-II.</c:v>
                </c:pt>
                <c:pt idx="60">
                  <c:v>20-II.</c:v>
                </c:pt>
                <c:pt idx="61">
                  <c:v>21-II.</c:v>
                </c:pt>
                <c:pt idx="62">
                  <c:v>22-II.</c:v>
                </c:pt>
                <c:pt idx="63">
                  <c:v>23-II.</c:v>
                </c:pt>
                <c:pt idx="64">
                  <c:v>24-II.</c:v>
                </c:pt>
                <c:pt idx="65">
                  <c:v>25-II.</c:v>
                </c:pt>
                <c:pt idx="66">
                  <c:v>26-II.</c:v>
                </c:pt>
                <c:pt idx="67">
                  <c:v>27-II.</c:v>
                </c:pt>
                <c:pt idx="68">
                  <c:v>28-II.</c:v>
                </c:pt>
                <c:pt idx="69">
                  <c:v>1-III.</c:v>
                </c:pt>
                <c:pt idx="70">
                  <c:v>2-III.</c:v>
                </c:pt>
                <c:pt idx="71">
                  <c:v>3-III.</c:v>
                </c:pt>
                <c:pt idx="72">
                  <c:v>4-III.</c:v>
                </c:pt>
                <c:pt idx="73">
                  <c:v>5-III.</c:v>
                </c:pt>
                <c:pt idx="74">
                  <c:v>6-III.</c:v>
                </c:pt>
                <c:pt idx="75">
                  <c:v>7-III.</c:v>
                </c:pt>
                <c:pt idx="76">
                  <c:v>8-III.</c:v>
                </c:pt>
                <c:pt idx="77">
                  <c:v>9-III.</c:v>
                </c:pt>
                <c:pt idx="78">
                  <c:v>10-III.</c:v>
                </c:pt>
                <c:pt idx="79">
                  <c:v>11-III.</c:v>
                </c:pt>
                <c:pt idx="80">
                  <c:v>12-III.</c:v>
                </c:pt>
                <c:pt idx="81">
                  <c:v>13-III.</c:v>
                </c:pt>
                <c:pt idx="82">
                  <c:v>14-III.</c:v>
                </c:pt>
                <c:pt idx="83">
                  <c:v>15-III.</c:v>
                </c:pt>
                <c:pt idx="84">
                  <c:v>16-III.</c:v>
                </c:pt>
                <c:pt idx="85">
                  <c:v>17-III.</c:v>
                </c:pt>
                <c:pt idx="86">
                  <c:v>18-III.</c:v>
                </c:pt>
                <c:pt idx="87">
                  <c:v>19-III.</c:v>
                </c:pt>
                <c:pt idx="88">
                  <c:v>20-III.</c:v>
                </c:pt>
                <c:pt idx="89">
                  <c:v>21-III.</c:v>
                </c:pt>
                <c:pt idx="90">
                  <c:v>22-III.</c:v>
                </c:pt>
                <c:pt idx="91">
                  <c:v>23-III.</c:v>
                </c:pt>
                <c:pt idx="92">
                  <c:v>24-III.</c:v>
                </c:pt>
                <c:pt idx="93">
                  <c:v>25-III.</c:v>
                </c:pt>
                <c:pt idx="94">
                  <c:v>26-III.</c:v>
                </c:pt>
                <c:pt idx="95">
                  <c:v>27-III.</c:v>
                </c:pt>
                <c:pt idx="96">
                  <c:v>28-III.</c:v>
                </c:pt>
                <c:pt idx="97">
                  <c:v>29-III.</c:v>
                </c:pt>
                <c:pt idx="98">
                  <c:v>30-III.</c:v>
                </c:pt>
                <c:pt idx="99">
                  <c:v>31-III.</c:v>
                </c:pt>
                <c:pt idx="100">
                  <c:v>1-IV.</c:v>
                </c:pt>
                <c:pt idx="101">
                  <c:v>2-IV.</c:v>
                </c:pt>
                <c:pt idx="102">
                  <c:v>3-IV.</c:v>
                </c:pt>
                <c:pt idx="103">
                  <c:v>4-IV.</c:v>
                </c:pt>
                <c:pt idx="104">
                  <c:v>5-IV.</c:v>
                </c:pt>
                <c:pt idx="105">
                  <c:v>6-IV.</c:v>
                </c:pt>
                <c:pt idx="106">
                  <c:v>7-IV.</c:v>
                </c:pt>
                <c:pt idx="107">
                  <c:v>8-IV.</c:v>
                </c:pt>
                <c:pt idx="108">
                  <c:v>9-IV.</c:v>
                </c:pt>
                <c:pt idx="109">
                  <c:v>10-IV.</c:v>
                </c:pt>
                <c:pt idx="110">
                  <c:v>11-IV.</c:v>
                </c:pt>
                <c:pt idx="111">
                  <c:v>12-IV.</c:v>
                </c:pt>
                <c:pt idx="112">
                  <c:v>13-IV.</c:v>
                </c:pt>
                <c:pt idx="113">
                  <c:v>14-IV.</c:v>
                </c:pt>
                <c:pt idx="114">
                  <c:v>15-IV.</c:v>
                </c:pt>
                <c:pt idx="115">
                  <c:v>16-IV.</c:v>
                </c:pt>
                <c:pt idx="116">
                  <c:v>17-IV.</c:v>
                </c:pt>
                <c:pt idx="117">
                  <c:v>18-IV.</c:v>
                </c:pt>
                <c:pt idx="118">
                  <c:v>19-IV.</c:v>
                </c:pt>
                <c:pt idx="119">
                  <c:v>20-IV.</c:v>
                </c:pt>
                <c:pt idx="120">
                  <c:v>21-IV.</c:v>
                </c:pt>
                <c:pt idx="121">
                  <c:v>22-IV.</c:v>
                </c:pt>
                <c:pt idx="122">
                  <c:v>23-IV.</c:v>
                </c:pt>
                <c:pt idx="123">
                  <c:v>24-IV.</c:v>
                </c:pt>
                <c:pt idx="124">
                  <c:v>25-IV.</c:v>
                </c:pt>
                <c:pt idx="125">
                  <c:v>26-IV.</c:v>
                </c:pt>
                <c:pt idx="126">
                  <c:v>27-IV.</c:v>
                </c:pt>
                <c:pt idx="127">
                  <c:v>28-IV.</c:v>
                </c:pt>
                <c:pt idx="128">
                  <c:v>29-IV.</c:v>
                </c:pt>
                <c:pt idx="129">
                  <c:v>30-IV.</c:v>
                </c:pt>
                <c:pt idx="130">
                  <c:v>1-V.</c:v>
                </c:pt>
                <c:pt idx="131">
                  <c:v>2-V.</c:v>
                </c:pt>
                <c:pt idx="132">
                  <c:v>3-V.</c:v>
                </c:pt>
                <c:pt idx="133">
                  <c:v>4-V.</c:v>
                </c:pt>
                <c:pt idx="134">
                  <c:v>5-V.</c:v>
                </c:pt>
                <c:pt idx="135">
                  <c:v>6-V.</c:v>
                </c:pt>
                <c:pt idx="136">
                  <c:v>7-V.</c:v>
                </c:pt>
                <c:pt idx="137">
                  <c:v>8-V.</c:v>
                </c:pt>
                <c:pt idx="138">
                  <c:v>9-V.</c:v>
                </c:pt>
                <c:pt idx="139">
                  <c:v>10-V.</c:v>
                </c:pt>
                <c:pt idx="140">
                  <c:v>11-V.</c:v>
                </c:pt>
                <c:pt idx="141">
                  <c:v>12-V.</c:v>
                </c:pt>
                <c:pt idx="142">
                  <c:v>13-V.</c:v>
                </c:pt>
                <c:pt idx="143">
                  <c:v>14-V.</c:v>
                </c:pt>
                <c:pt idx="144">
                  <c:v>15-V.</c:v>
                </c:pt>
                <c:pt idx="145">
                  <c:v>16-V.</c:v>
                </c:pt>
                <c:pt idx="146">
                  <c:v>17-V.</c:v>
                </c:pt>
                <c:pt idx="147">
                  <c:v>18-V.</c:v>
                </c:pt>
                <c:pt idx="148">
                  <c:v>19-V.</c:v>
                </c:pt>
                <c:pt idx="149">
                  <c:v>20-V.</c:v>
                </c:pt>
                <c:pt idx="150">
                  <c:v>21-V.</c:v>
                </c:pt>
                <c:pt idx="151">
                  <c:v>22-V.</c:v>
                </c:pt>
                <c:pt idx="152">
                  <c:v>23-V.</c:v>
                </c:pt>
                <c:pt idx="153">
                  <c:v>24-V.</c:v>
                </c:pt>
                <c:pt idx="154">
                  <c:v>25-V.</c:v>
                </c:pt>
                <c:pt idx="155">
                  <c:v>26-V.</c:v>
                </c:pt>
                <c:pt idx="156">
                  <c:v>27-V.</c:v>
                </c:pt>
                <c:pt idx="157">
                  <c:v>28-V.</c:v>
                </c:pt>
                <c:pt idx="158">
                  <c:v>29-V.</c:v>
                </c:pt>
                <c:pt idx="159">
                  <c:v>30-V.</c:v>
                </c:pt>
                <c:pt idx="160">
                  <c:v>31-V.</c:v>
                </c:pt>
                <c:pt idx="161">
                  <c:v>1-VI.</c:v>
                </c:pt>
                <c:pt idx="162">
                  <c:v>2-VI.</c:v>
                </c:pt>
                <c:pt idx="163">
                  <c:v>3-VI.</c:v>
                </c:pt>
                <c:pt idx="164">
                  <c:v>4-VI.</c:v>
                </c:pt>
                <c:pt idx="165">
                  <c:v>5-VI.</c:v>
                </c:pt>
                <c:pt idx="166">
                  <c:v>6-VI.</c:v>
                </c:pt>
                <c:pt idx="167">
                  <c:v>7-VI.</c:v>
                </c:pt>
                <c:pt idx="168">
                  <c:v>8-VI.</c:v>
                </c:pt>
                <c:pt idx="169">
                  <c:v>9-VI.</c:v>
                </c:pt>
                <c:pt idx="170">
                  <c:v>10-VI.</c:v>
                </c:pt>
                <c:pt idx="171">
                  <c:v>11-VI.</c:v>
                </c:pt>
                <c:pt idx="172">
                  <c:v>12-VI.</c:v>
                </c:pt>
                <c:pt idx="173">
                  <c:v>13-VI.</c:v>
                </c:pt>
                <c:pt idx="174">
                  <c:v>14-VI.</c:v>
                </c:pt>
                <c:pt idx="175">
                  <c:v>15-VI.</c:v>
                </c:pt>
                <c:pt idx="176">
                  <c:v>16-VI.</c:v>
                </c:pt>
                <c:pt idx="177">
                  <c:v>17-VI.</c:v>
                </c:pt>
                <c:pt idx="178">
                  <c:v>18-VI.</c:v>
                </c:pt>
                <c:pt idx="179">
                  <c:v>19-VI.</c:v>
                </c:pt>
                <c:pt idx="180">
                  <c:v>20-VI.</c:v>
                </c:pt>
                <c:pt idx="181">
                  <c:v>21-VI.</c:v>
                </c:pt>
                <c:pt idx="182">
                  <c:v>22-VI.</c:v>
                </c:pt>
                <c:pt idx="183">
                  <c:v>23-VI.</c:v>
                </c:pt>
                <c:pt idx="184">
                  <c:v>24-VI.</c:v>
                </c:pt>
                <c:pt idx="185">
                  <c:v>25-VI.</c:v>
                </c:pt>
                <c:pt idx="186">
                  <c:v>26-VI.</c:v>
                </c:pt>
                <c:pt idx="187">
                  <c:v>27-VI.</c:v>
                </c:pt>
                <c:pt idx="188">
                  <c:v>28-VI.</c:v>
                </c:pt>
                <c:pt idx="189">
                  <c:v>29-VI.</c:v>
                </c:pt>
                <c:pt idx="190">
                  <c:v>30-VI.</c:v>
                </c:pt>
                <c:pt idx="191">
                  <c:v>1-VII.</c:v>
                </c:pt>
                <c:pt idx="192">
                  <c:v>2-VII.</c:v>
                </c:pt>
                <c:pt idx="193">
                  <c:v>3-VII.</c:v>
                </c:pt>
                <c:pt idx="194">
                  <c:v>4-VII.</c:v>
                </c:pt>
                <c:pt idx="195">
                  <c:v>5-VII.</c:v>
                </c:pt>
                <c:pt idx="196">
                  <c:v>6-VII.</c:v>
                </c:pt>
                <c:pt idx="197">
                  <c:v>7-VII.</c:v>
                </c:pt>
                <c:pt idx="198">
                  <c:v>8-VII.</c:v>
                </c:pt>
                <c:pt idx="199">
                  <c:v>9-VII.</c:v>
                </c:pt>
                <c:pt idx="200">
                  <c:v>10-VII.</c:v>
                </c:pt>
                <c:pt idx="201">
                  <c:v>11-VII.</c:v>
                </c:pt>
                <c:pt idx="202">
                  <c:v>12-VII.</c:v>
                </c:pt>
                <c:pt idx="203">
                  <c:v>13-VII.</c:v>
                </c:pt>
                <c:pt idx="204">
                  <c:v>14-VII.</c:v>
                </c:pt>
                <c:pt idx="205">
                  <c:v>15-VII.</c:v>
                </c:pt>
                <c:pt idx="206">
                  <c:v>16-VII.</c:v>
                </c:pt>
                <c:pt idx="207">
                  <c:v>17-VII.</c:v>
                </c:pt>
                <c:pt idx="208">
                  <c:v>18-VII.</c:v>
                </c:pt>
                <c:pt idx="209">
                  <c:v>19-VII.</c:v>
                </c:pt>
                <c:pt idx="210">
                  <c:v>20-VII.</c:v>
                </c:pt>
                <c:pt idx="211">
                  <c:v>21-VII.</c:v>
                </c:pt>
                <c:pt idx="212">
                  <c:v>22-VII.</c:v>
                </c:pt>
                <c:pt idx="213">
                  <c:v>23-VII.</c:v>
                </c:pt>
                <c:pt idx="214">
                  <c:v>24-VII.</c:v>
                </c:pt>
                <c:pt idx="215">
                  <c:v>25-VII.</c:v>
                </c:pt>
                <c:pt idx="216">
                  <c:v>26-VII.</c:v>
                </c:pt>
                <c:pt idx="217">
                  <c:v>27-VII.</c:v>
                </c:pt>
                <c:pt idx="218">
                  <c:v>28-VII.</c:v>
                </c:pt>
                <c:pt idx="219">
                  <c:v>29-VII.</c:v>
                </c:pt>
                <c:pt idx="220">
                  <c:v>30-VII.</c:v>
                </c:pt>
                <c:pt idx="221">
                  <c:v>31-VII.</c:v>
                </c:pt>
                <c:pt idx="222">
                  <c:v>1-VIII.</c:v>
                </c:pt>
                <c:pt idx="223">
                  <c:v>2-VIII.</c:v>
                </c:pt>
                <c:pt idx="224">
                  <c:v>3-VIII.</c:v>
                </c:pt>
                <c:pt idx="225">
                  <c:v>4-VIII.</c:v>
                </c:pt>
                <c:pt idx="226">
                  <c:v>5-VIII.</c:v>
                </c:pt>
                <c:pt idx="227">
                  <c:v>6-VIII.</c:v>
                </c:pt>
                <c:pt idx="228">
                  <c:v>7-VIII.</c:v>
                </c:pt>
                <c:pt idx="229">
                  <c:v>8-VIII.</c:v>
                </c:pt>
                <c:pt idx="230">
                  <c:v>9-VIII.</c:v>
                </c:pt>
                <c:pt idx="231">
                  <c:v>10-VIII.</c:v>
                </c:pt>
                <c:pt idx="232">
                  <c:v>11-VIII.</c:v>
                </c:pt>
                <c:pt idx="233">
                  <c:v>12-VIII.</c:v>
                </c:pt>
                <c:pt idx="234">
                  <c:v>13-VIII.</c:v>
                </c:pt>
                <c:pt idx="235">
                  <c:v>14-VIII.</c:v>
                </c:pt>
                <c:pt idx="236">
                  <c:v>15-VIII.</c:v>
                </c:pt>
                <c:pt idx="237">
                  <c:v>16-VIII.</c:v>
                </c:pt>
                <c:pt idx="238">
                  <c:v>17-VIII.</c:v>
                </c:pt>
                <c:pt idx="239">
                  <c:v>18-VIII.</c:v>
                </c:pt>
                <c:pt idx="240">
                  <c:v>19-VIII.</c:v>
                </c:pt>
                <c:pt idx="241">
                  <c:v>20-VIII.</c:v>
                </c:pt>
                <c:pt idx="242">
                  <c:v>21-VIII.</c:v>
                </c:pt>
                <c:pt idx="243">
                  <c:v>22-VIII.</c:v>
                </c:pt>
                <c:pt idx="244">
                  <c:v>23-VIII.</c:v>
                </c:pt>
                <c:pt idx="245">
                  <c:v>24-VIII.</c:v>
                </c:pt>
                <c:pt idx="246">
                  <c:v>25-VIII.</c:v>
                </c:pt>
                <c:pt idx="247">
                  <c:v>26-VIII.</c:v>
                </c:pt>
                <c:pt idx="248">
                  <c:v>27-VIII.</c:v>
                </c:pt>
                <c:pt idx="249">
                  <c:v>28-VIII.</c:v>
                </c:pt>
                <c:pt idx="250">
                  <c:v>29-VIII.</c:v>
                </c:pt>
                <c:pt idx="251">
                  <c:v>30-VIII.</c:v>
                </c:pt>
                <c:pt idx="252">
                  <c:v>31-VIII.</c:v>
                </c:pt>
                <c:pt idx="253">
                  <c:v>1-IX.</c:v>
                </c:pt>
                <c:pt idx="254">
                  <c:v>2-IX.</c:v>
                </c:pt>
                <c:pt idx="255">
                  <c:v>3-IX.</c:v>
                </c:pt>
                <c:pt idx="256">
                  <c:v>4-IX.</c:v>
                </c:pt>
                <c:pt idx="257">
                  <c:v>5-IX.</c:v>
                </c:pt>
                <c:pt idx="258">
                  <c:v>6-IX.</c:v>
                </c:pt>
                <c:pt idx="259">
                  <c:v>7-IX.</c:v>
                </c:pt>
                <c:pt idx="260">
                  <c:v>8-IX.</c:v>
                </c:pt>
                <c:pt idx="261">
                  <c:v>9-IX.</c:v>
                </c:pt>
                <c:pt idx="262">
                  <c:v>10-IX.</c:v>
                </c:pt>
                <c:pt idx="263">
                  <c:v>11-IX.</c:v>
                </c:pt>
                <c:pt idx="264">
                  <c:v>12-IX.</c:v>
                </c:pt>
                <c:pt idx="265">
                  <c:v>13-IX.</c:v>
                </c:pt>
                <c:pt idx="266">
                  <c:v>14-IX.</c:v>
                </c:pt>
                <c:pt idx="267">
                  <c:v>15-IX.</c:v>
                </c:pt>
                <c:pt idx="268">
                  <c:v>16-IX.</c:v>
                </c:pt>
                <c:pt idx="269">
                  <c:v>17-IX.</c:v>
                </c:pt>
                <c:pt idx="270">
                  <c:v>18-IX.</c:v>
                </c:pt>
                <c:pt idx="271">
                  <c:v>19-IX.</c:v>
                </c:pt>
                <c:pt idx="272">
                  <c:v>20-IX.</c:v>
                </c:pt>
                <c:pt idx="273">
                  <c:v>21-IX.</c:v>
                </c:pt>
                <c:pt idx="274">
                  <c:v>22-IX.</c:v>
                </c:pt>
                <c:pt idx="275">
                  <c:v>23-IX.</c:v>
                </c:pt>
                <c:pt idx="276">
                  <c:v>24-IX.</c:v>
                </c:pt>
                <c:pt idx="277">
                  <c:v>25-IX.</c:v>
                </c:pt>
                <c:pt idx="278">
                  <c:v>26-IX.</c:v>
                </c:pt>
                <c:pt idx="279">
                  <c:v>27-IX.</c:v>
                </c:pt>
                <c:pt idx="280">
                  <c:v>28-IX.</c:v>
                </c:pt>
                <c:pt idx="281">
                  <c:v>29-IX.</c:v>
                </c:pt>
                <c:pt idx="282">
                  <c:v>30-IX.</c:v>
                </c:pt>
                <c:pt idx="283">
                  <c:v>1-X.</c:v>
                </c:pt>
                <c:pt idx="284">
                  <c:v>2-X.</c:v>
                </c:pt>
                <c:pt idx="285">
                  <c:v>3-X.</c:v>
                </c:pt>
                <c:pt idx="286">
                  <c:v>4-X.</c:v>
                </c:pt>
                <c:pt idx="287">
                  <c:v>5-X.</c:v>
                </c:pt>
                <c:pt idx="288">
                  <c:v>6-X.</c:v>
                </c:pt>
                <c:pt idx="289">
                  <c:v>7-X.</c:v>
                </c:pt>
                <c:pt idx="290">
                  <c:v>8-X.</c:v>
                </c:pt>
                <c:pt idx="291">
                  <c:v>9-X.</c:v>
                </c:pt>
                <c:pt idx="292">
                  <c:v>10-X.</c:v>
                </c:pt>
                <c:pt idx="293">
                  <c:v>11-X.</c:v>
                </c:pt>
                <c:pt idx="294">
                  <c:v>12-X.</c:v>
                </c:pt>
                <c:pt idx="295">
                  <c:v>13-X.</c:v>
                </c:pt>
                <c:pt idx="296">
                  <c:v>14-X.</c:v>
                </c:pt>
                <c:pt idx="297">
                  <c:v>15-X.</c:v>
                </c:pt>
                <c:pt idx="298">
                  <c:v>16-X.</c:v>
                </c:pt>
                <c:pt idx="299">
                  <c:v>17-X.</c:v>
                </c:pt>
                <c:pt idx="300">
                  <c:v>18-X.</c:v>
                </c:pt>
                <c:pt idx="301">
                  <c:v>19-X.</c:v>
                </c:pt>
                <c:pt idx="302">
                  <c:v>20-X.</c:v>
                </c:pt>
                <c:pt idx="303">
                  <c:v>21-X.</c:v>
                </c:pt>
                <c:pt idx="304">
                  <c:v>22-X.</c:v>
                </c:pt>
                <c:pt idx="305">
                  <c:v>23-X.</c:v>
                </c:pt>
                <c:pt idx="306">
                  <c:v>24-X.</c:v>
                </c:pt>
                <c:pt idx="307">
                  <c:v>25-X.</c:v>
                </c:pt>
                <c:pt idx="308">
                  <c:v>26-X.</c:v>
                </c:pt>
              </c:strCache>
            </c:strRef>
          </c:cat>
          <c:val>
            <c:numRef>
              <c:f>List1!$D$5:$KZ$5</c:f>
              <c:numCache>
                <c:formatCode>General</c:formatCode>
                <c:ptCount val="309"/>
                <c:pt idx="5">
                  <c:v>445</c:v>
                </c:pt>
                <c:pt idx="6">
                  <c:v>1182</c:v>
                </c:pt>
                <c:pt idx="7">
                  <c:v>2130</c:v>
                </c:pt>
                <c:pt idx="8">
                  <c:v>3074</c:v>
                </c:pt>
                <c:pt idx="9">
                  <c:v>3411</c:v>
                </c:pt>
                <c:pt idx="10">
                  <c:v>3500</c:v>
                </c:pt>
                <c:pt idx="11">
                  <c:v>3898</c:v>
                </c:pt>
                <c:pt idx="12">
                  <c:v>4213</c:v>
                </c:pt>
                <c:pt idx="13">
                  <c:v>5412</c:v>
                </c:pt>
                <c:pt idx="14">
                  <c:v>6729</c:v>
                </c:pt>
                <c:pt idx="15">
                  <c:v>8226</c:v>
                </c:pt>
                <c:pt idx="16">
                  <c:v>9909</c:v>
                </c:pt>
                <c:pt idx="17">
                  <c:v>11724</c:v>
                </c:pt>
                <c:pt idx="18">
                  <c:v>12132</c:v>
                </c:pt>
                <c:pt idx="19">
                  <c:v>12424</c:v>
                </c:pt>
                <c:pt idx="20">
                  <c:v>14172</c:v>
                </c:pt>
                <c:pt idx="21">
                  <c:v>16132</c:v>
                </c:pt>
                <c:pt idx="22">
                  <c:v>17836</c:v>
                </c:pt>
                <c:pt idx="23">
                  <c:v>19745</c:v>
                </c:pt>
                <c:pt idx="24">
                  <c:v>21552</c:v>
                </c:pt>
                <c:pt idx="25">
                  <c:v>21887</c:v>
                </c:pt>
                <c:pt idx="26">
                  <c:v>22114</c:v>
                </c:pt>
                <c:pt idx="27">
                  <c:v>23677</c:v>
                </c:pt>
                <c:pt idx="28">
                  <c:v>24863</c:v>
                </c:pt>
                <c:pt idx="29">
                  <c:v>25990</c:v>
                </c:pt>
                <c:pt idx="30">
                  <c:v>26995</c:v>
                </c:pt>
                <c:pt idx="31">
                  <c:v>27823</c:v>
                </c:pt>
                <c:pt idx="32">
                  <c:v>27994</c:v>
                </c:pt>
                <c:pt idx="33">
                  <c:v>28076</c:v>
                </c:pt>
                <c:pt idx="34">
                  <c:v>28585</c:v>
                </c:pt>
                <c:pt idx="35">
                  <c:v>29128</c:v>
                </c:pt>
                <c:pt idx="36">
                  <c:v>29528</c:v>
                </c:pt>
                <c:pt idx="37">
                  <c:v>29905</c:v>
                </c:pt>
                <c:pt idx="38">
                  <c:v>30235</c:v>
                </c:pt>
                <c:pt idx="39">
                  <c:v>30260</c:v>
                </c:pt>
                <c:pt idx="40">
                  <c:v>30281</c:v>
                </c:pt>
                <c:pt idx="41">
                  <c:v>30525</c:v>
                </c:pt>
                <c:pt idx="42">
                  <c:v>30760</c:v>
                </c:pt>
                <c:pt idx="43">
                  <c:v>30981</c:v>
                </c:pt>
                <c:pt idx="44">
                  <c:v>31177</c:v>
                </c:pt>
                <c:pt idx="45">
                  <c:v>31452</c:v>
                </c:pt>
                <c:pt idx="46">
                  <c:v>31472</c:v>
                </c:pt>
                <c:pt idx="47">
                  <c:v>31484</c:v>
                </c:pt>
                <c:pt idx="48">
                  <c:v>31620</c:v>
                </c:pt>
                <c:pt idx="49">
                  <c:v>31759</c:v>
                </c:pt>
                <c:pt idx="50">
                  <c:v>31953</c:v>
                </c:pt>
                <c:pt idx="51">
                  <c:v>32185</c:v>
                </c:pt>
                <c:pt idx="52">
                  <c:v>32465</c:v>
                </c:pt>
                <c:pt idx="53">
                  <c:v>32563</c:v>
                </c:pt>
                <c:pt idx="54">
                  <c:v>32628</c:v>
                </c:pt>
                <c:pt idx="55">
                  <c:v>32985</c:v>
                </c:pt>
                <c:pt idx="56">
                  <c:v>33283</c:v>
                </c:pt>
                <c:pt idx="57">
                  <c:v>33544</c:v>
                </c:pt>
                <c:pt idx="58">
                  <c:v>33884</c:v>
                </c:pt>
                <c:pt idx="59">
                  <c:v>34332</c:v>
                </c:pt>
                <c:pt idx="60">
                  <c:v>34438</c:v>
                </c:pt>
                <c:pt idx="61">
                  <c:v>34485</c:v>
                </c:pt>
                <c:pt idx="62">
                  <c:v>34795</c:v>
                </c:pt>
                <c:pt idx="63">
                  <c:v>35276</c:v>
                </c:pt>
                <c:pt idx="64">
                  <c:v>35875</c:v>
                </c:pt>
                <c:pt idx="65">
                  <c:v>36528</c:v>
                </c:pt>
                <c:pt idx="66">
                  <c:v>37069</c:v>
                </c:pt>
                <c:pt idx="67">
                  <c:v>37145</c:v>
                </c:pt>
                <c:pt idx="68">
                  <c:v>37188</c:v>
                </c:pt>
                <c:pt idx="69">
                  <c:v>37736</c:v>
                </c:pt>
                <c:pt idx="70">
                  <c:v>38332</c:v>
                </c:pt>
                <c:pt idx="71">
                  <c:v>38893</c:v>
                </c:pt>
                <c:pt idx="72">
                  <c:v>39437</c:v>
                </c:pt>
                <c:pt idx="73">
                  <c:v>40033</c:v>
                </c:pt>
                <c:pt idx="74">
                  <c:v>40200</c:v>
                </c:pt>
                <c:pt idx="75">
                  <c:v>40308</c:v>
                </c:pt>
                <c:pt idx="76">
                  <c:v>40636</c:v>
                </c:pt>
                <c:pt idx="77">
                  <c:v>41033</c:v>
                </c:pt>
                <c:pt idx="78">
                  <c:v>41436</c:v>
                </c:pt>
                <c:pt idx="79">
                  <c:v>41915</c:v>
                </c:pt>
                <c:pt idx="80">
                  <c:v>42322</c:v>
                </c:pt>
                <c:pt idx="81">
                  <c:v>42460</c:v>
                </c:pt>
                <c:pt idx="82">
                  <c:v>42545</c:v>
                </c:pt>
                <c:pt idx="83">
                  <c:v>42797</c:v>
                </c:pt>
                <c:pt idx="84">
                  <c:v>43160</c:v>
                </c:pt>
                <c:pt idx="85">
                  <c:v>43517</c:v>
                </c:pt>
                <c:pt idx="86">
                  <c:v>43875</c:v>
                </c:pt>
                <c:pt idx="87">
                  <c:v>44205</c:v>
                </c:pt>
                <c:pt idx="88">
                  <c:v>44321</c:v>
                </c:pt>
                <c:pt idx="89">
                  <c:v>44390</c:v>
                </c:pt>
                <c:pt idx="90">
                  <c:v>44565</c:v>
                </c:pt>
                <c:pt idx="91">
                  <c:v>44759</c:v>
                </c:pt>
                <c:pt idx="92">
                  <c:v>44905</c:v>
                </c:pt>
                <c:pt idx="93">
                  <c:v>45097</c:v>
                </c:pt>
                <c:pt idx="94">
                  <c:v>45316</c:v>
                </c:pt>
                <c:pt idx="95">
                  <c:v>45379</c:v>
                </c:pt>
                <c:pt idx="96">
                  <c:v>45421</c:v>
                </c:pt>
                <c:pt idx="97">
                  <c:v>45546</c:v>
                </c:pt>
                <c:pt idx="98">
                  <c:v>45707</c:v>
                </c:pt>
                <c:pt idx="99">
                  <c:v>45868</c:v>
                </c:pt>
                <c:pt idx="100">
                  <c:v>46087</c:v>
                </c:pt>
                <c:pt idx="101">
                  <c:v>46165</c:v>
                </c:pt>
                <c:pt idx="102">
                  <c:v>46186</c:v>
                </c:pt>
                <c:pt idx="103">
                  <c:v>46215</c:v>
                </c:pt>
                <c:pt idx="104">
                  <c:v>46222</c:v>
                </c:pt>
                <c:pt idx="105">
                  <c:v>46312</c:v>
                </c:pt>
                <c:pt idx="106">
                  <c:v>46406</c:v>
                </c:pt>
                <c:pt idx="107">
                  <c:v>46574</c:v>
                </c:pt>
                <c:pt idx="108">
                  <c:v>46775</c:v>
                </c:pt>
                <c:pt idx="109">
                  <c:v>46821</c:v>
                </c:pt>
                <c:pt idx="110">
                  <c:v>46854</c:v>
                </c:pt>
                <c:pt idx="111">
                  <c:v>46991</c:v>
                </c:pt>
                <c:pt idx="112">
                  <c:v>47111</c:v>
                </c:pt>
                <c:pt idx="113">
                  <c:v>47216</c:v>
                </c:pt>
                <c:pt idx="114">
                  <c:v>47374</c:v>
                </c:pt>
                <c:pt idx="115">
                  <c:v>47550</c:v>
                </c:pt>
                <c:pt idx="116">
                  <c:v>47591</c:v>
                </c:pt>
                <c:pt idx="117">
                  <c:v>47646</c:v>
                </c:pt>
                <c:pt idx="118">
                  <c:v>47773</c:v>
                </c:pt>
                <c:pt idx="119">
                  <c:v>47892</c:v>
                </c:pt>
                <c:pt idx="120">
                  <c:v>48027</c:v>
                </c:pt>
                <c:pt idx="121">
                  <c:v>48174</c:v>
                </c:pt>
                <c:pt idx="122">
                  <c:v>48329</c:v>
                </c:pt>
                <c:pt idx="123">
                  <c:v>48385</c:v>
                </c:pt>
                <c:pt idx="124">
                  <c:v>48422</c:v>
                </c:pt>
                <c:pt idx="125">
                  <c:v>48536</c:v>
                </c:pt>
                <c:pt idx="126">
                  <c:v>48655</c:v>
                </c:pt>
                <c:pt idx="127">
                  <c:v>48775</c:v>
                </c:pt>
                <c:pt idx="128">
                  <c:v>48905</c:v>
                </c:pt>
                <c:pt idx="129">
                  <c:v>49043</c:v>
                </c:pt>
                <c:pt idx="130">
                  <c:v>49072</c:v>
                </c:pt>
                <c:pt idx="131">
                  <c:v>49102</c:v>
                </c:pt>
                <c:pt idx="132">
                  <c:v>49223</c:v>
                </c:pt>
                <c:pt idx="133">
                  <c:v>49349</c:v>
                </c:pt>
                <c:pt idx="134">
                  <c:v>49444</c:v>
                </c:pt>
                <c:pt idx="135">
                  <c:v>49561</c:v>
                </c:pt>
                <c:pt idx="136">
                  <c:v>49732</c:v>
                </c:pt>
                <c:pt idx="137">
                  <c:v>49794</c:v>
                </c:pt>
                <c:pt idx="138">
                  <c:v>49826</c:v>
                </c:pt>
                <c:pt idx="139">
                  <c:v>49924</c:v>
                </c:pt>
                <c:pt idx="140">
                  <c:v>50039</c:v>
                </c:pt>
                <c:pt idx="141">
                  <c:v>50171</c:v>
                </c:pt>
                <c:pt idx="142">
                  <c:v>50328</c:v>
                </c:pt>
                <c:pt idx="143">
                  <c:v>50457</c:v>
                </c:pt>
                <c:pt idx="144">
                  <c:v>50527</c:v>
                </c:pt>
                <c:pt idx="145">
                  <c:v>50558</c:v>
                </c:pt>
                <c:pt idx="146">
                  <c:v>50641</c:v>
                </c:pt>
                <c:pt idx="147">
                  <c:v>50734</c:v>
                </c:pt>
                <c:pt idx="148">
                  <c:v>50819</c:v>
                </c:pt>
                <c:pt idx="149">
                  <c:v>50919</c:v>
                </c:pt>
                <c:pt idx="150">
                  <c:v>51026</c:v>
                </c:pt>
                <c:pt idx="151">
                  <c:v>51056</c:v>
                </c:pt>
                <c:pt idx="152">
                  <c:v>51071</c:v>
                </c:pt>
                <c:pt idx="153">
                  <c:v>51121</c:v>
                </c:pt>
                <c:pt idx="154">
                  <c:v>51184</c:v>
                </c:pt>
                <c:pt idx="155">
                  <c:v>51275</c:v>
                </c:pt>
                <c:pt idx="156">
                  <c:v>51356</c:v>
                </c:pt>
                <c:pt idx="157">
                  <c:v>51460</c:v>
                </c:pt>
                <c:pt idx="158">
                  <c:v>51497</c:v>
                </c:pt>
                <c:pt idx="159">
                  <c:v>51530</c:v>
                </c:pt>
                <c:pt idx="160">
                  <c:v>51605</c:v>
                </c:pt>
                <c:pt idx="161">
                  <c:v>51686</c:v>
                </c:pt>
                <c:pt idx="162">
                  <c:v>51782</c:v>
                </c:pt>
                <c:pt idx="163">
                  <c:v>51853</c:v>
                </c:pt>
                <c:pt idx="164">
                  <c:v>51950</c:v>
                </c:pt>
                <c:pt idx="165">
                  <c:v>51977</c:v>
                </c:pt>
                <c:pt idx="166">
                  <c:v>52010</c:v>
                </c:pt>
                <c:pt idx="167">
                  <c:v>52091</c:v>
                </c:pt>
                <c:pt idx="168">
                  <c:v>52188</c:v>
                </c:pt>
                <c:pt idx="169">
                  <c:v>52274</c:v>
                </c:pt>
                <c:pt idx="170">
                  <c:v>52360</c:v>
                </c:pt>
                <c:pt idx="171">
                  <c:v>52455</c:v>
                </c:pt>
                <c:pt idx="172">
                  <c:v>52484</c:v>
                </c:pt>
                <c:pt idx="173">
                  <c:v>52515</c:v>
                </c:pt>
                <c:pt idx="174">
                  <c:v>52586</c:v>
                </c:pt>
                <c:pt idx="175">
                  <c:v>52641</c:v>
                </c:pt>
                <c:pt idx="176">
                  <c:v>52716</c:v>
                </c:pt>
                <c:pt idx="177">
                  <c:v>52792</c:v>
                </c:pt>
                <c:pt idx="178">
                  <c:v>52870</c:v>
                </c:pt>
                <c:pt idx="179">
                  <c:v>52898</c:v>
                </c:pt>
                <c:pt idx="180">
                  <c:v>52923</c:v>
                </c:pt>
                <c:pt idx="181">
                  <c:v>52962</c:v>
                </c:pt>
                <c:pt idx="182">
                  <c:v>53012</c:v>
                </c:pt>
                <c:pt idx="183">
                  <c:v>53065</c:v>
                </c:pt>
                <c:pt idx="184">
                  <c:v>53116</c:v>
                </c:pt>
                <c:pt idx="185">
                  <c:v>53172</c:v>
                </c:pt>
                <c:pt idx="186">
                  <c:v>53186</c:v>
                </c:pt>
                <c:pt idx="187">
                  <c:v>53198</c:v>
                </c:pt>
                <c:pt idx="188">
                  <c:v>53242</c:v>
                </c:pt>
                <c:pt idx="189">
                  <c:v>53288</c:v>
                </c:pt>
                <c:pt idx="190">
                  <c:v>53346</c:v>
                </c:pt>
                <c:pt idx="191">
                  <c:v>53390</c:v>
                </c:pt>
                <c:pt idx="192">
                  <c:v>53445</c:v>
                </c:pt>
                <c:pt idx="193">
                  <c:v>53457</c:v>
                </c:pt>
                <c:pt idx="194">
                  <c:v>53469</c:v>
                </c:pt>
                <c:pt idx="195">
                  <c:v>53475</c:v>
                </c:pt>
                <c:pt idx="196">
                  <c:v>53484</c:v>
                </c:pt>
                <c:pt idx="197">
                  <c:v>53524</c:v>
                </c:pt>
                <c:pt idx="198">
                  <c:v>53579</c:v>
                </c:pt>
                <c:pt idx="199">
                  <c:v>53627</c:v>
                </c:pt>
                <c:pt idx="200">
                  <c:v>53642</c:v>
                </c:pt>
                <c:pt idx="201">
                  <c:v>53656</c:v>
                </c:pt>
                <c:pt idx="202">
                  <c:v>53704</c:v>
                </c:pt>
                <c:pt idx="203">
                  <c:v>53747</c:v>
                </c:pt>
                <c:pt idx="204">
                  <c:v>53793</c:v>
                </c:pt>
                <c:pt idx="205">
                  <c:v>53851</c:v>
                </c:pt>
                <c:pt idx="206">
                  <c:v>53906</c:v>
                </c:pt>
                <c:pt idx="207">
                  <c:v>53928</c:v>
                </c:pt>
                <c:pt idx="208">
                  <c:v>53947</c:v>
                </c:pt>
                <c:pt idx="209">
                  <c:v>53996</c:v>
                </c:pt>
                <c:pt idx="210">
                  <c:v>54041</c:v>
                </c:pt>
                <c:pt idx="211">
                  <c:v>54109</c:v>
                </c:pt>
                <c:pt idx="212">
                  <c:v>54147</c:v>
                </c:pt>
                <c:pt idx="213">
                  <c:v>54180</c:v>
                </c:pt>
                <c:pt idx="214">
                  <c:v>54186</c:v>
                </c:pt>
                <c:pt idx="215">
                  <c:v>54195</c:v>
                </c:pt>
                <c:pt idx="216">
                  <c:v>54235</c:v>
                </c:pt>
                <c:pt idx="217">
                  <c:v>54289</c:v>
                </c:pt>
                <c:pt idx="218">
                  <c:v>54324</c:v>
                </c:pt>
                <c:pt idx="219">
                  <c:v>54352</c:v>
                </c:pt>
                <c:pt idx="220">
                  <c:v>54397</c:v>
                </c:pt>
                <c:pt idx="221">
                  <c:v>54414</c:v>
                </c:pt>
                <c:pt idx="222">
                  <c:v>54427</c:v>
                </c:pt>
                <c:pt idx="223">
                  <c:v>54464</c:v>
                </c:pt>
                <c:pt idx="224">
                  <c:v>54490</c:v>
                </c:pt>
                <c:pt idx="225">
                  <c:v>54530</c:v>
                </c:pt>
                <c:pt idx="226">
                  <c:v>54561</c:v>
                </c:pt>
                <c:pt idx="227">
                  <c:v>54594</c:v>
                </c:pt>
                <c:pt idx="228">
                  <c:v>54607</c:v>
                </c:pt>
                <c:pt idx="229">
                  <c:v>54612</c:v>
                </c:pt>
                <c:pt idx="230">
                  <c:v>54634</c:v>
                </c:pt>
                <c:pt idx="231">
                  <c:v>54649</c:v>
                </c:pt>
                <c:pt idx="232">
                  <c:v>54669</c:v>
                </c:pt>
                <c:pt idx="233">
                  <c:v>54692</c:v>
                </c:pt>
                <c:pt idx="234">
                  <c:v>54717</c:v>
                </c:pt>
                <c:pt idx="235">
                  <c:v>54727</c:v>
                </c:pt>
                <c:pt idx="236">
                  <c:v>54732</c:v>
                </c:pt>
                <c:pt idx="237">
                  <c:v>54749</c:v>
                </c:pt>
                <c:pt idx="238">
                  <c:v>54774</c:v>
                </c:pt>
                <c:pt idx="239">
                  <c:v>54796</c:v>
                </c:pt>
                <c:pt idx="240">
                  <c:v>54818</c:v>
                </c:pt>
                <c:pt idx="241">
                  <c:v>54851</c:v>
                </c:pt>
                <c:pt idx="242">
                  <c:v>54861</c:v>
                </c:pt>
                <c:pt idx="243">
                  <c:v>54864</c:v>
                </c:pt>
                <c:pt idx="244">
                  <c:v>54875</c:v>
                </c:pt>
                <c:pt idx="245">
                  <c:v>54904</c:v>
                </c:pt>
                <c:pt idx="246">
                  <c:v>54928</c:v>
                </c:pt>
                <c:pt idx="247">
                  <c:v>54955</c:v>
                </c:pt>
                <c:pt idx="248">
                  <c:v>54983</c:v>
                </c:pt>
                <c:pt idx="249">
                  <c:v>54985</c:v>
                </c:pt>
                <c:pt idx="250">
                  <c:v>54992</c:v>
                </c:pt>
                <c:pt idx="251">
                  <c:v>55013</c:v>
                </c:pt>
                <c:pt idx="252">
                  <c:v>55037</c:v>
                </c:pt>
                <c:pt idx="253">
                  <c:v>55056</c:v>
                </c:pt>
                <c:pt idx="254">
                  <c:v>55084</c:v>
                </c:pt>
                <c:pt idx="255">
                  <c:v>55110</c:v>
                </c:pt>
                <c:pt idx="256">
                  <c:v>55118</c:v>
                </c:pt>
                <c:pt idx="257">
                  <c:v>55123</c:v>
                </c:pt>
                <c:pt idx="258">
                  <c:v>55136</c:v>
                </c:pt>
                <c:pt idx="259">
                  <c:v>55149</c:v>
                </c:pt>
                <c:pt idx="260">
                  <c:v>55167</c:v>
                </c:pt>
                <c:pt idx="261">
                  <c:v>55196</c:v>
                </c:pt>
                <c:pt idx="262">
                  <c:v>55221</c:v>
                </c:pt>
                <c:pt idx="263">
                  <c:v>55223</c:v>
                </c:pt>
                <c:pt idx="264">
                  <c:v>55226</c:v>
                </c:pt>
                <c:pt idx="265">
                  <c:v>55245</c:v>
                </c:pt>
                <c:pt idx="266">
                  <c:v>55263</c:v>
                </c:pt>
                <c:pt idx="267">
                  <c:v>55278</c:v>
                </c:pt>
                <c:pt idx="268">
                  <c:v>55296</c:v>
                </c:pt>
                <c:pt idx="269">
                  <c:v>55321</c:v>
                </c:pt>
                <c:pt idx="270">
                  <c:v>55326</c:v>
                </c:pt>
                <c:pt idx="271">
                  <c:v>55326</c:v>
                </c:pt>
                <c:pt idx="272">
                  <c:v>55345</c:v>
                </c:pt>
                <c:pt idx="273">
                  <c:v>55353</c:v>
                </c:pt>
                <c:pt idx="274">
                  <c:v>55360</c:v>
                </c:pt>
                <c:pt idx="275">
                  <c:v>55383</c:v>
                </c:pt>
                <c:pt idx="276">
                  <c:v>55409</c:v>
                </c:pt>
                <c:pt idx="277">
                  <c:v>55415</c:v>
                </c:pt>
                <c:pt idx="278">
                  <c:v>55415</c:v>
                </c:pt>
                <c:pt idx="279">
                  <c:v>55427</c:v>
                </c:pt>
                <c:pt idx="280">
                  <c:v>55427</c:v>
                </c:pt>
                <c:pt idx="281">
                  <c:v>55444</c:v>
                </c:pt>
                <c:pt idx="282">
                  <c:v>55459</c:v>
                </c:pt>
                <c:pt idx="283">
                  <c:v>55479</c:v>
                </c:pt>
                <c:pt idx="284">
                  <c:v>55485</c:v>
                </c:pt>
                <c:pt idx="285">
                  <c:v>55485</c:v>
                </c:pt>
                <c:pt idx="286">
                  <c:v>55494</c:v>
                </c:pt>
                <c:pt idx="287">
                  <c:v>55500</c:v>
                </c:pt>
                <c:pt idx="288">
                  <c:v>55513</c:v>
                </c:pt>
                <c:pt idx="289">
                  <c:v>55530</c:v>
                </c:pt>
                <c:pt idx="290">
                  <c:v>55543</c:v>
                </c:pt>
                <c:pt idx="291">
                  <c:v>55549</c:v>
                </c:pt>
                <c:pt idx="292">
                  <c:v>55549</c:v>
                </c:pt>
                <c:pt idx="293">
                  <c:v>55567</c:v>
                </c:pt>
                <c:pt idx="294">
                  <c:v>55583</c:v>
                </c:pt>
                <c:pt idx="295">
                  <c:v>55591</c:v>
                </c:pt>
                <c:pt idx="296">
                  <c:v>55601</c:v>
                </c:pt>
                <c:pt idx="297">
                  <c:v>55617</c:v>
                </c:pt>
                <c:pt idx="298">
                  <c:v>55619</c:v>
                </c:pt>
                <c:pt idx="299">
                  <c:v>55621</c:v>
                </c:pt>
                <c:pt idx="300">
                  <c:v>55642</c:v>
                </c:pt>
                <c:pt idx="301">
                  <c:v>55648</c:v>
                </c:pt>
                <c:pt idx="302">
                  <c:v>55661</c:v>
                </c:pt>
                <c:pt idx="303">
                  <c:v>55686</c:v>
                </c:pt>
                <c:pt idx="304">
                  <c:v>55724</c:v>
                </c:pt>
                <c:pt idx="305">
                  <c:v>55729</c:v>
                </c:pt>
                <c:pt idx="306">
                  <c:v>55735</c:v>
                </c:pt>
                <c:pt idx="307">
                  <c:v>55755</c:v>
                </c:pt>
                <c:pt idx="308">
                  <c:v>557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2</c:f>
              <c:numCache>
                <c:formatCode>m/d/yyyy</c:formatCode>
                <c:ptCount val="15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70</c:v>
                </c:pt>
                <c:pt idx="5">
                  <c:v>44371</c:v>
                </c:pt>
                <c:pt idx="6">
                  <c:v>44373</c:v>
                </c:pt>
                <c:pt idx="7">
                  <c:v>44374</c:v>
                </c:pt>
                <c:pt idx="8">
                  <c:v>44375</c:v>
                </c:pt>
                <c:pt idx="9">
                  <c:v>44376</c:v>
                </c:pt>
                <c:pt idx="10">
                  <c:v>44378</c:v>
                </c:pt>
                <c:pt idx="11">
                  <c:v>44379</c:v>
                </c:pt>
                <c:pt idx="12">
                  <c:v>44381</c:v>
                </c:pt>
                <c:pt idx="13">
                  <c:v>44382</c:v>
                </c:pt>
                <c:pt idx="14">
                  <c:v>44383</c:v>
                </c:pt>
                <c:pt idx="15">
                  <c:v>44384</c:v>
                </c:pt>
                <c:pt idx="16">
                  <c:v>44385</c:v>
                </c:pt>
                <c:pt idx="17">
                  <c:v>44386</c:v>
                </c:pt>
                <c:pt idx="18">
                  <c:v>44387</c:v>
                </c:pt>
                <c:pt idx="19">
                  <c:v>44389</c:v>
                </c:pt>
                <c:pt idx="20">
                  <c:v>44390</c:v>
                </c:pt>
                <c:pt idx="21">
                  <c:v>44391</c:v>
                </c:pt>
                <c:pt idx="22">
                  <c:v>44392</c:v>
                </c:pt>
                <c:pt idx="23">
                  <c:v>44393</c:v>
                </c:pt>
                <c:pt idx="24">
                  <c:v>44394</c:v>
                </c:pt>
                <c:pt idx="25">
                  <c:v>44395</c:v>
                </c:pt>
                <c:pt idx="26">
                  <c:v>44396</c:v>
                </c:pt>
                <c:pt idx="27">
                  <c:v>44397</c:v>
                </c:pt>
                <c:pt idx="28">
                  <c:v>44398</c:v>
                </c:pt>
                <c:pt idx="29">
                  <c:v>44399</c:v>
                </c:pt>
                <c:pt idx="30">
                  <c:v>44400</c:v>
                </c:pt>
                <c:pt idx="31">
                  <c:v>44401</c:v>
                </c:pt>
                <c:pt idx="32">
                  <c:v>44402</c:v>
                </c:pt>
                <c:pt idx="33">
                  <c:v>44403</c:v>
                </c:pt>
                <c:pt idx="34">
                  <c:v>44404</c:v>
                </c:pt>
                <c:pt idx="35">
                  <c:v>44405</c:v>
                </c:pt>
                <c:pt idx="36">
                  <c:v>44406</c:v>
                </c:pt>
                <c:pt idx="37">
                  <c:v>44407</c:v>
                </c:pt>
                <c:pt idx="38">
                  <c:v>44408</c:v>
                </c:pt>
                <c:pt idx="39">
                  <c:v>44409</c:v>
                </c:pt>
                <c:pt idx="40">
                  <c:v>44410</c:v>
                </c:pt>
                <c:pt idx="41">
                  <c:v>44411</c:v>
                </c:pt>
                <c:pt idx="42">
                  <c:v>44412</c:v>
                </c:pt>
                <c:pt idx="43">
                  <c:v>44413</c:v>
                </c:pt>
                <c:pt idx="44">
                  <c:v>44414</c:v>
                </c:pt>
                <c:pt idx="45">
                  <c:v>44415</c:v>
                </c:pt>
                <c:pt idx="46">
                  <c:v>44416</c:v>
                </c:pt>
                <c:pt idx="47">
                  <c:v>44417</c:v>
                </c:pt>
                <c:pt idx="48">
                  <c:v>44418</c:v>
                </c:pt>
                <c:pt idx="49">
                  <c:v>44419</c:v>
                </c:pt>
                <c:pt idx="50">
                  <c:v>44420</c:v>
                </c:pt>
                <c:pt idx="51">
                  <c:v>44421</c:v>
                </c:pt>
                <c:pt idx="52">
                  <c:v>44422</c:v>
                </c:pt>
                <c:pt idx="53">
                  <c:v>44423</c:v>
                </c:pt>
                <c:pt idx="54">
                  <c:v>44424</c:v>
                </c:pt>
                <c:pt idx="55">
                  <c:v>44425</c:v>
                </c:pt>
                <c:pt idx="56">
                  <c:v>44426</c:v>
                </c:pt>
                <c:pt idx="57">
                  <c:v>44427</c:v>
                </c:pt>
                <c:pt idx="58">
                  <c:v>44428</c:v>
                </c:pt>
                <c:pt idx="59">
                  <c:v>44429</c:v>
                </c:pt>
                <c:pt idx="60">
                  <c:v>44430</c:v>
                </c:pt>
                <c:pt idx="61">
                  <c:v>44431</c:v>
                </c:pt>
                <c:pt idx="62">
                  <c:v>44432</c:v>
                </c:pt>
                <c:pt idx="63">
                  <c:v>44433</c:v>
                </c:pt>
                <c:pt idx="64">
                  <c:v>44434</c:v>
                </c:pt>
                <c:pt idx="65">
                  <c:v>44435</c:v>
                </c:pt>
                <c:pt idx="66">
                  <c:v>44436</c:v>
                </c:pt>
                <c:pt idx="67">
                  <c:v>44437</c:v>
                </c:pt>
                <c:pt idx="68">
                  <c:v>44438</c:v>
                </c:pt>
                <c:pt idx="69">
                  <c:v>44439</c:v>
                </c:pt>
                <c:pt idx="70">
                  <c:v>44440</c:v>
                </c:pt>
                <c:pt idx="71">
                  <c:v>44441</c:v>
                </c:pt>
                <c:pt idx="72">
                  <c:v>44442</c:v>
                </c:pt>
                <c:pt idx="73">
                  <c:v>44443</c:v>
                </c:pt>
                <c:pt idx="74">
                  <c:v>44444</c:v>
                </c:pt>
                <c:pt idx="75">
                  <c:v>44445</c:v>
                </c:pt>
                <c:pt idx="76">
                  <c:v>44446</c:v>
                </c:pt>
                <c:pt idx="77">
                  <c:v>44447</c:v>
                </c:pt>
                <c:pt idx="78">
                  <c:v>44448</c:v>
                </c:pt>
                <c:pt idx="79">
                  <c:v>44449</c:v>
                </c:pt>
                <c:pt idx="80">
                  <c:v>44450</c:v>
                </c:pt>
                <c:pt idx="81">
                  <c:v>44451</c:v>
                </c:pt>
                <c:pt idx="82">
                  <c:v>44452</c:v>
                </c:pt>
                <c:pt idx="83">
                  <c:v>44453</c:v>
                </c:pt>
                <c:pt idx="84">
                  <c:v>44454</c:v>
                </c:pt>
                <c:pt idx="85">
                  <c:v>44455</c:v>
                </c:pt>
                <c:pt idx="86">
                  <c:v>44456</c:v>
                </c:pt>
                <c:pt idx="87">
                  <c:v>44457</c:v>
                </c:pt>
                <c:pt idx="88">
                  <c:v>44458</c:v>
                </c:pt>
                <c:pt idx="89">
                  <c:v>44459</c:v>
                </c:pt>
                <c:pt idx="90">
                  <c:v>44460</c:v>
                </c:pt>
                <c:pt idx="91">
                  <c:v>44461</c:v>
                </c:pt>
                <c:pt idx="92">
                  <c:v>44462</c:v>
                </c:pt>
                <c:pt idx="93">
                  <c:v>44463</c:v>
                </c:pt>
                <c:pt idx="94">
                  <c:v>44464</c:v>
                </c:pt>
                <c:pt idx="95">
                  <c:v>44465</c:v>
                </c:pt>
                <c:pt idx="96">
                  <c:v>44466</c:v>
                </c:pt>
                <c:pt idx="97">
                  <c:v>44467</c:v>
                </c:pt>
                <c:pt idx="98">
                  <c:v>44468</c:v>
                </c:pt>
                <c:pt idx="99">
                  <c:v>44469</c:v>
                </c:pt>
                <c:pt idx="100">
                  <c:v>44470</c:v>
                </c:pt>
                <c:pt idx="101">
                  <c:v>44471</c:v>
                </c:pt>
                <c:pt idx="102">
                  <c:v>44472</c:v>
                </c:pt>
                <c:pt idx="103">
                  <c:v>44473</c:v>
                </c:pt>
                <c:pt idx="104">
                  <c:v>44474</c:v>
                </c:pt>
                <c:pt idx="105">
                  <c:v>44475</c:v>
                </c:pt>
                <c:pt idx="106">
                  <c:v>44476</c:v>
                </c:pt>
                <c:pt idx="107">
                  <c:v>44477</c:v>
                </c:pt>
                <c:pt idx="108">
                  <c:v>44478</c:v>
                </c:pt>
                <c:pt idx="109">
                  <c:v>44479</c:v>
                </c:pt>
                <c:pt idx="110">
                  <c:v>44480</c:v>
                </c:pt>
                <c:pt idx="111">
                  <c:v>44481</c:v>
                </c:pt>
                <c:pt idx="112">
                  <c:v>44482</c:v>
                </c:pt>
                <c:pt idx="113">
                  <c:v>44483</c:v>
                </c:pt>
                <c:pt idx="114">
                  <c:v>44484</c:v>
                </c:pt>
                <c:pt idx="115">
                  <c:v>44485</c:v>
                </c:pt>
                <c:pt idx="116">
                  <c:v>44486</c:v>
                </c:pt>
                <c:pt idx="117">
                  <c:v>44487</c:v>
                </c:pt>
                <c:pt idx="118">
                  <c:v>44488</c:v>
                </c:pt>
                <c:pt idx="119">
                  <c:v>44489</c:v>
                </c:pt>
                <c:pt idx="120">
                  <c:v>44490</c:v>
                </c:pt>
                <c:pt idx="121">
                  <c:v>44491</c:v>
                </c:pt>
                <c:pt idx="122">
                  <c:v>44492</c:v>
                </c:pt>
                <c:pt idx="123">
                  <c:v>44493</c:v>
                </c:pt>
                <c:pt idx="124">
                  <c:v>44494</c:v>
                </c:pt>
                <c:pt idx="125">
                  <c:v>44495</c:v>
                </c:pt>
              </c:numCache>
            </c:numRef>
          </c:cat>
          <c:val>
            <c:numRef>
              <c:f>Sheet1!$B$135:$B$292</c:f>
              <c:numCache>
                <c:formatCode>General</c:formatCode>
                <c:ptCount val="158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0</c:v>
                </c:pt>
                <c:pt idx="19">
                  <c:v>2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2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4</c:v>
                </c:pt>
                <c:pt idx="30">
                  <c:v>0</c:v>
                </c:pt>
                <c:pt idx="31">
                  <c:v>0</c:v>
                </c:pt>
                <c:pt idx="32">
                  <c:v>1</c:v>
                </c:pt>
                <c:pt idx="33">
                  <c:v>3</c:v>
                </c:pt>
                <c:pt idx="34">
                  <c:v>1</c:v>
                </c:pt>
                <c:pt idx="35">
                  <c:v>1</c:v>
                </c:pt>
                <c:pt idx="36">
                  <c:v>2</c:v>
                </c:pt>
                <c:pt idx="37">
                  <c:v>2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7</c:v>
                </c:pt>
                <c:pt idx="43">
                  <c:v>1</c:v>
                </c:pt>
                <c:pt idx="44">
                  <c:v>2</c:v>
                </c:pt>
                <c:pt idx="45">
                  <c:v>0</c:v>
                </c:pt>
                <c:pt idx="46">
                  <c:v>3</c:v>
                </c:pt>
                <c:pt idx="47">
                  <c:v>2</c:v>
                </c:pt>
                <c:pt idx="48">
                  <c:v>0</c:v>
                </c:pt>
                <c:pt idx="49">
                  <c:v>4</c:v>
                </c:pt>
                <c:pt idx="50">
                  <c:v>1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3</c:v>
                </c:pt>
                <c:pt idx="55">
                  <c:v>0</c:v>
                </c:pt>
                <c:pt idx="56">
                  <c:v>0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2</c:v>
                </c:pt>
                <c:pt idx="62">
                  <c:v>0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0</c:v>
                </c:pt>
                <c:pt idx="68">
                  <c:v>0</c:v>
                </c:pt>
                <c:pt idx="69">
                  <c:v>4</c:v>
                </c:pt>
                <c:pt idx="70">
                  <c:v>4</c:v>
                </c:pt>
                <c:pt idx="71">
                  <c:v>1</c:v>
                </c:pt>
                <c:pt idx="72">
                  <c:v>1</c:v>
                </c:pt>
                <c:pt idx="73">
                  <c:v>3</c:v>
                </c:pt>
                <c:pt idx="74">
                  <c:v>1</c:v>
                </c:pt>
                <c:pt idx="75">
                  <c:v>0</c:v>
                </c:pt>
                <c:pt idx="76">
                  <c:v>2</c:v>
                </c:pt>
                <c:pt idx="77">
                  <c:v>0</c:v>
                </c:pt>
                <c:pt idx="78">
                  <c:v>0</c:v>
                </c:pt>
                <c:pt idx="79">
                  <c:v>3</c:v>
                </c:pt>
                <c:pt idx="80">
                  <c:v>3</c:v>
                </c:pt>
                <c:pt idx="81">
                  <c:v>0</c:v>
                </c:pt>
                <c:pt idx="82">
                  <c:v>4</c:v>
                </c:pt>
                <c:pt idx="83">
                  <c:v>2</c:v>
                </c:pt>
                <c:pt idx="84">
                  <c:v>0</c:v>
                </c:pt>
                <c:pt idx="85">
                  <c:v>1</c:v>
                </c:pt>
                <c:pt idx="86">
                  <c:v>2</c:v>
                </c:pt>
                <c:pt idx="87">
                  <c:v>1</c:v>
                </c:pt>
                <c:pt idx="88">
                  <c:v>1</c:v>
                </c:pt>
                <c:pt idx="89">
                  <c:v>0</c:v>
                </c:pt>
                <c:pt idx="90">
                  <c:v>3</c:v>
                </c:pt>
                <c:pt idx="91">
                  <c:v>3</c:v>
                </c:pt>
                <c:pt idx="92">
                  <c:v>2</c:v>
                </c:pt>
                <c:pt idx="93">
                  <c:v>3</c:v>
                </c:pt>
                <c:pt idx="94">
                  <c:v>0</c:v>
                </c:pt>
                <c:pt idx="95">
                  <c:v>2</c:v>
                </c:pt>
                <c:pt idx="96">
                  <c:v>6</c:v>
                </c:pt>
                <c:pt idx="97">
                  <c:v>4</c:v>
                </c:pt>
                <c:pt idx="98">
                  <c:v>3</c:v>
                </c:pt>
                <c:pt idx="99">
                  <c:v>9</c:v>
                </c:pt>
                <c:pt idx="100">
                  <c:v>2</c:v>
                </c:pt>
                <c:pt idx="101">
                  <c:v>5</c:v>
                </c:pt>
                <c:pt idx="102">
                  <c:v>1</c:v>
                </c:pt>
                <c:pt idx="103">
                  <c:v>0</c:v>
                </c:pt>
                <c:pt idx="104">
                  <c:v>2</c:v>
                </c:pt>
                <c:pt idx="105">
                  <c:v>5</c:v>
                </c:pt>
                <c:pt idx="106">
                  <c:v>6</c:v>
                </c:pt>
                <c:pt idx="107">
                  <c:v>6</c:v>
                </c:pt>
                <c:pt idx="108">
                  <c:v>1</c:v>
                </c:pt>
                <c:pt idx="109">
                  <c:v>1</c:v>
                </c:pt>
                <c:pt idx="110">
                  <c:v>3</c:v>
                </c:pt>
                <c:pt idx="111">
                  <c:v>10</c:v>
                </c:pt>
                <c:pt idx="112">
                  <c:v>7</c:v>
                </c:pt>
                <c:pt idx="113">
                  <c:v>7</c:v>
                </c:pt>
                <c:pt idx="114">
                  <c:v>6</c:v>
                </c:pt>
                <c:pt idx="115">
                  <c:v>5</c:v>
                </c:pt>
                <c:pt idx="116">
                  <c:v>8</c:v>
                </c:pt>
                <c:pt idx="117">
                  <c:v>17</c:v>
                </c:pt>
                <c:pt idx="118">
                  <c:v>17</c:v>
                </c:pt>
                <c:pt idx="119">
                  <c:v>13</c:v>
                </c:pt>
                <c:pt idx="120">
                  <c:v>13</c:v>
                </c:pt>
                <c:pt idx="121">
                  <c:v>17</c:v>
                </c:pt>
                <c:pt idx="122">
                  <c:v>14</c:v>
                </c:pt>
                <c:pt idx="123">
                  <c:v>12</c:v>
                </c:pt>
                <c:pt idx="124">
                  <c:v>29</c:v>
                </c:pt>
                <c:pt idx="125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70</c:f>
              <c:numCache>
                <c:formatCode>m/d/yyyy</c:formatCode>
                <c:ptCount val="26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</c:numCache>
            </c:numRef>
          </c:cat>
          <c:val>
            <c:numRef>
              <c:f>List1!$B$2:$B$270</c:f>
              <c:numCache>
                <c:formatCode>General</c:formatCode>
                <c:ptCount val="269"/>
                <c:pt idx="0">
                  <c:v>81.184903568175002</c:v>
                </c:pt>
                <c:pt idx="1">
                  <c:v>64.326780042615994</c:v>
                </c:pt>
                <c:pt idx="2">
                  <c:v>52.985530874261002</c:v>
                </c:pt>
                <c:pt idx="3">
                  <c:v>78.221490325236005</c:v>
                </c:pt>
                <c:pt idx="4">
                  <c:v>53.794587436893998</c:v>
                </c:pt>
                <c:pt idx="5">
                  <c:v>35.373187124159003</c:v>
                </c:pt>
                <c:pt idx="6">
                  <c:v>33.492422339445</c:v>
                </c:pt>
                <c:pt idx="7">
                  <c:v>42.726826037727001</c:v>
                </c:pt>
                <c:pt idx="8">
                  <c:v>52.613118204137997</c:v>
                </c:pt>
                <c:pt idx="9">
                  <c:v>69.711484404865999</c:v>
                </c:pt>
                <c:pt idx="10">
                  <c:v>62.575322147027997</c:v>
                </c:pt>
                <c:pt idx="11">
                  <c:v>64.850843060958994</c:v>
                </c:pt>
                <c:pt idx="12">
                  <c:v>26.560424966799001</c:v>
                </c:pt>
                <c:pt idx="13">
                  <c:v>19.408054342551999</c:v>
                </c:pt>
                <c:pt idx="14">
                  <c:v>60.278789400979001</c:v>
                </c:pt>
                <c:pt idx="15">
                  <c:v>89.147591704028997</c:v>
                </c:pt>
                <c:pt idx="16">
                  <c:v>35.465830036828997</c:v>
                </c:pt>
                <c:pt idx="17">
                  <c:v>80.057183702643997</c:v>
                </c:pt>
                <c:pt idx="18">
                  <c:v>68.546223997138</c:v>
                </c:pt>
                <c:pt idx="19">
                  <c:v>39.096568524254003</c:v>
                </c:pt>
                <c:pt idx="20">
                  <c:v>24.212342241457002</c:v>
                </c:pt>
                <c:pt idx="21">
                  <c:v>104.384133611691</c:v>
                </c:pt>
                <c:pt idx="22">
                  <c:v>98.383235496671006</c:v>
                </c:pt>
                <c:pt idx="23">
                  <c:v>78.034878197732993</c:v>
                </c:pt>
                <c:pt idx="24">
                  <c:v>115.769163304683</c:v>
                </c:pt>
                <c:pt idx="25">
                  <c:v>137.357672148924</c:v>
                </c:pt>
                <c:pt idx="26">
                  <c:v>76.299821967081996</c:v>
                </c:pt>
                <c:pt idx="27">
                  <c:v>58.215689128219999</c:v>
                </c:pt>
                <c:pt idx="28">
                  <c:v>108.043664543049</c:v>
                </c:pt>
                <c:pt idx="29">
                  <c:v>151.85452336661399</c:v>
                </c:pt>
                <c:pt idx="30">
                  <c:v>123.091125899142</c:v>
                </c:pt>
                <c:pt idx="31">
                  <c:v>70.224719101123</c:v>
                </c:pt>
                <c:pt idx="32">
                  <c:v>87.001225926364995</c:v>
                </c:pt>
                <c:pt idx="33">
                  <c:v>31.686933100962001</c:v>
                </c:pt>
                <c:pt idx="34">
                  <c:v>31.739734179726</c:v>
                </c:pt>
                <c:pt idx="35">
                  <c:v>80.115366127222998</c:v>
                </c:pt>
                <c:pt idx="36">
                  <c:v>68.985107332710996</c:v>
                </c:pt>
                <c:pt idx="37">
                  <c:v>77.840140931622997</c:v>
                </c:pt>
                <c:pt idx="38">
                  <c:v>24.799537075307001</c:v>
                </c:pt>
                <c:pt idx="39">
                  <c:v>71.070234113712004</c:v>
                </c:pt>
                <c:pt idx="40">
                  <c:v>37.650602409637997</c:v>
                </c:pt>
                <c:pt idx="41">
                  <c:v>16.744108166937998</c:v>
                </c:pt>
                <c:pt idx="42">
                  <c:v>88.465751116353005</c:v>
                </c:pt>
                <c:pt idx="43">
                  <c:v>106.013060809091</c:v>
                </c:pt>
                <c:pt idx="44">
                  <c:v>29.868578255675001</c:v>
                </c:pt>
                <c:pt idx="45">
                  <c:v>42.929509744998001</c:v>
                </c:pt>
                <c:pt idx="46">
                  <c:v>39.059109452304</c:v>
                </c:pt>
                <c:pt idx="47">
                  <c:v>21.707041764347998</c:v>
                </c:pt>
                <c:pt idx="48">
                  <c:v>21.714583514288002</c:v>
                </c:pt>
                <c:pt idx="49">
                  <c:v>35.030870955029002</c:v>
                </c:pt>
                <c:pt idx="50">
                  <c:v>66.131734414953996</c:v>
                </c:pt>
                <c:pt idx="51">
                  <c:v>31.101435109076998</c:v>
                </c:pt>
                <c:pt idx="52">
                  <c:v>35.917927535581001</c:v>
                </c:pt>
                <c:pt idx="53">
                  <c:v>36.386791594651001</c:v>
                </c:pt>
                <c:pt idx="54">
                  <c:v>36.463081130355</c:v>
                </c:pt>
                <c:pt idx="55">
                  <c:v>4.5737285034759996</c:v>
                </c:pt>
                <c:pt idx="56">
                  <c:v>60.282865754695003</c:v>
                </c:pt>
                <c:pt idx="57">
                  <c:v>47.061038166501</c:v>
                </c:pt>
                <c:pt idx="58">
                  <c:v>23.891437308867999</c:v>
                </c:pt>
                <c:pt idx="59">
                  <c:v>29.127627554735</c:v>
                </c:pt>
                <c:pt idx="60">
                  <c:v>19.860973187686</c:v>
                </c:pt>
                <c:pt idx="61">
                  <c:v>14.927601134496999</c:v>
                </c:pt>
                <c:pt idx="62">
                  <c:v>19.937197826845001</c:v>
                </c:pt>
                <c:pt idx="63">
                  <c:v>25.290844714213002</c:v>
                </c:pt>
                <c:pt idx="64">
                  <c:v>46.258223684210002</c:v>
                </c:pt>
                <c:pt idx="65">
                  <c:v>10.490977759127</c:v>
                </c:pt>
                <c:pt idx="66">
                  <c:v>10.706064985814001</c:v>
                </c:pt>
                <c:pt idx="67">
                  <c:v>10.98056440101</c:v>
                </c:pt>
                <c:pt idx="68">
                  <c:v>11.027790030877</c:v>
                </c:pt>
                <c:pt idx="69">
                  <c:v>5.5294442908479997</c:v>
                </c:pt>
                <c:pt idx="70">
                  <c:v>16.864354376299001</c:v>
                </c:pt>
                <c:pt idx="71">
                  <c:v>11.460661280155</c:v>
                </c:pt>
                <c:pt idx="72">
                  <c:v>52.505688116211999</c:v>
                </c:pt>
                <c:pt idx="73">
                  <c:v>17.880557873404999</c:v>
                </c:pt>
                <c:pt idx="74">
                  <c:v>17.983455221195999</c:v>
                </c:pt>
                <c:pt idx="75">
                  <c:v>6.0306356289950003</c:v>
                </c:pt>
                <c:pt idx="76">
                  <c:v>12.097749818533</c:v>
                </c:pt>
                <c:pt idx="77">
                  <c:v>36.363636363635997</c:v>
                </c:pt>
                <c:pt idx="78">
                  <c:v>24.703557312251998</c:v>
                </c:pt>
                <c:pt idx="79">
                  <c:v>31.326357997618999</c:v>
                </c:pt>
                <c:pt idx="80">
                  <c:v>6.3747051698849999</c:v>
                </c:pt>
                <c:pt idx="81">
                  <c:v>19.446425098852</c:v>
                </c:pt>
                <c:pt idx="82">
                  <c:v>6.5231572080879996</c:v>
                </c:pt>
                <c:pt idx="83">
                  <c:v>6.5453593402269998</c:v>
                </c:pt>
                <c:pt idx="84">
                  <c:v>13.233639912657001</c:v>
                </c:pt>
                <c:pt idx="85">
                  <c:v>6.6880684858209998</c:v>
                </c:pt>
                <c:pt idx="86">
                  <c:v>40.633888663145001</c:v>
                </c:pt>
                <c:pt idx="87">
                  <c:v>13.706140350877</c:v>
                </c:pt>
                <c:pt idx="88">
                  <c:v>20.840569642236002</c:v>
                </c:pt>
                <c:pt idx="89">
                  <c:v>6.9613644274270001</c:v>
                </c:pt>
                <c:pt idx="90">
                  <c:v>0</c:v>
                </c:pt>
                <c:pt idx="91">
                  <c:v>7.0209927683769999</c:v>
                </c:pt>
                <c:pt idx="92">
                  <c:v>7.0766400113219996</c:v>
                </c:pt>
                <c:pt idx="93">
                  <c:v>7.1169311792750003</c:v>
                </c:pt>
                <c:pt idx="94">
                  <c:v>0</c:v>
                </c:pt>
                <c:pt idx="95">
                  <c:v>0</c:v>
                </c:pt>
                <c:pt idx="96">
                  <c:v>7.2337962962960001</c:v>
                </c:pt>
                <c:pt idx="97">
                  <c:v>7.2427029767500004</c:v>
                </c:pt>
                <c:pt idx="98">
                  <c:v>0</c:v>
                </c:pt>
                <c:pt idx="99">
                  <c:v>14.563460278161999</c:v>
                </c:pt>
                <c:pt idx="100">
                  <c:v>0</c:v>
                </c:pt>
                <c:pt idx="101">
                  <c:v>14.705882352941</c:v>
                </c:pt>
                <c:pt idx="102">
                  <c:v>14.788524105294</c:v>
                </c:pt>
                <c:pt idx="103">
                  <c:v>7.4002812106859999</c:v>
                </c:pt>
                <c:pt idx="104">
                  <c:v>0</c:v>
                </c:pt>
                <c:pt idx="105">
                  <c:v>14.865467518953</c:v>
                </c:pt>
                <c:pt idx="106">
                  <c:v>14.908684308609001</c:v>
                </c:pt>
                <c:pt idx="107">
                  <c:v>22.421524663677001</c:v>
                </c:pt>
                <c:pt idx="108">
                  <c:v>7.4940047961629999</c:v>
                </c:pt>
                <c:pt idx="109">
                  <c:v>7.536362951239</c:v>
                </c:pt>
                <c:pt idx="110">
                  <c:v>0</c:v>
                </c:pt>
                <c:pt idx="111">
                  <c:v>7.5620084694490002</c:v>
                </c:pt>
                <c:pt idx="112">
                  <c:v>0</c:v>
                </c:pt>
                <c:pt idx="113">
                  <c:v>0</c:v>
                </c:pt>
                <c:pt idx="114">
                  <c:v>15.275337966852</c:v>
                </c:pt>
                <c:pt idx="115">
                  <c:v>0</c:v>
                </c:pt>
                <c:pt idx="116">
                  <c:v>7.7000077000070002</c:v>
                </c:pt>
                <c:pt idx="117">
                  <c:v>0</c:v>
                </c:pt>
                <c:pt idx="118">
                  <c:v>7.765180928715</c:v>
                </c:pt>
                <c:pt idx="119">
                  <c:v>0</c:v>
                </c:pt>
                <c:pt idx="120">
                  <c:v>7.8895463510840003</c:v>
                </c:pt>
                <c:pt idx="121">
                  <c:v>0</c:v>
                </c:pt>
                <c:pt idx="122">
                  <c:v>8.0489375402439993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16.881911032327999</c:v>
                </c:pt>
                <c:pt idx="131">
                  <c:v>0</c:v>
                </c:pt>
                <c:pt idx="132">
                  <c:v>0</c:v>
                </c:pt>
                <c:pt idx="133">
                  <c:v>8.6333419666749993</c:v>
                </c:pt>
                <c:pt idx="135">
                  <c:v>0</c:v>
                </c:pt>
                <c:pt idx="136">
                  <c:v>0</c:v>
                </c:pt>
                <c:pt idx="137">
                  <c:v>8.9070989578689996</c:v>
                </c:pt>
                <c:pt idx="138">
                  <c:v>0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0</c:v>
                </c:pt>
                <c:pt idx="162">
                  <c:v>10.154346060112999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20.772746157040999</c:v>
                </c:pt>
                <c:pt idx="167">
                  <c:v>0</c:v>
                </c:pt>
                <c:pt idx="168">
                  <c:v>20.783539436765999</c:v>
                </c:pt>
                <c:pt idx="169">
                  <c:v>0</c:v>
                </c:pt>
                <c:pt idx="170">
                  <c:v>10.456969570218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10.606703436570999</c:v>
                </c:pt>
                <c:pt idx="175">
                  <c:v>10.662117496534</c:v>
                </c:pt>
                <c:pt idx="176">
                  <c:v>10.716964955524</c:v>
                </c:pt>
                <c:pt idx="177">
                  <c:v>0</c:v>
                </c:pt>
                <c:pt idx="178">
                  <c:v>21.663778162911001</c:v>
                </c:pt>
                <c:pt idx="179">
                  <c:v>21.798365122614999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44.488933377822001</c:v>
                </c:pt>
                <c:pt idx="185">
                  <c:v>0</c:v>
                </c:pt>
                <c:pt idx="186">
                  <c:v>22.441651705565</c:v>
                </c:pt>
                <c:pt idx="187">
                  <c:v>0</c:v>
                </c:pt>
                <c:pt idx="188">
                  <c:v>11.246063877641999</c:v>
                </c:pt>
                <c:pt idx="189">
                  <c:v>11.290504685559</c:v>
                </c:pt>
                <c:pt idx="190">
                  <c:v>0</c:v>
                </c:pt>
                <c:pt idx="191">
                  <c:v>22.760896779332999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23.078698361411998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1.731581417175001</c:v>
                </c:pt>
                <c:pt idx="201">
                  <c:v>0</c:v>
                </c:pt>
                <c:pt idx="202">
                  <c:v>0</c:v>
                </c:pt>
                <c:pt idx="203">
                  <c:v>11.785503830288</c:v>
                </c:pt>
                <c:pt idx="204">
                  <c:v>0</c:v>
                </c:pt>
                <c:pt idx="205">
                  <c:v>0</c:v>
                </c:pt>
                <c:pt idx="206">
                  <c:v>11.927480916029999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12.113870381586</c:v>
                </c:pt>
                <c:pt idx="213">
                  <c:v>12.152144853566</c:v>
                </c:pt>
                <c:pt idx="214">
                  <c:v>0</c:v>
                </c:pt>
                <c:pt idx="215">
                  <c:v>12.201073694485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2.30012300123</c:v>
                </c:pt>
                <c:pt idx="223">
                  <c:v>0</c:v>
                </c:pt>
                <c:pt idx="224">
                  <c:v>0</c:v>
                </c:pt>
                <c:pt idx="225">
                  <c:v>12.30012300123</c:v>
                </c:pt>
                <c:pt idx="226">
                  <c:v>0</c:v>
                </c:pt>
                <c:pt idx="227">
                  <c:v>0</c:v>
                </c:pt>
                <c:pt idx="228">
                  <c:v>12.30012300123</c:v>
                </c:pt>
                <c:pt idx="229">
                  <c:v>12.281994595922001</c:v>
                </c:pt>
                <c:pt idx="230">
                  <c:v>0</c:v>
                </c:pt>
                <c:pt idx="231">
                  <c:v>0</c:v>
                </c:pt>
                <c:pt idx="232">
                  <c:v>12.254901960784</c:v>
                </c:pt>
                <c:pt idx="233">
                  <c:v>24.515812699190001</c:v>
                </c:pt>
                <c:pt idx="234">
                  <c:v>0</c:v>
                </c:pt>
                <c:pt idx="235">
                  <c:v>12.280486307257</c:v>
                </c:pt>
                <c:pt idx="236">
                  <c:v>0</c:v>
                </c:pt>
                <c:pt idx="237">
                  <c:v>12.239902080783001</c:v>
                </c:pt>
                <c:pt idx="238">
                  <c:v>24.446889133357001</c:v>
                </c:pt>
                <c:pt idx="239">
                  <c:v>12.218963831867001</c:v>
                </c:pt>
                <c:pt idx="240">
                  <c:v>12.211503236047999</c:v>
                </c:pt>
                <c:pt idx="241">
                  <c:v>12.221950623319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2.291052114059999</c:v>
                </c:pt>
                <c:pt idx="248">
                  <c:v>12.330456226880001</c:v>
                </c:pt>
                <c:pt idx="249">
                  <c:v>12.370113805047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37.206994915044</c:v>
                </c:pt>
                <c:pt idx="254">
                  <c:v>12.44400199104</c:v>
                </c:pt>
                <c:pt idx="255">
                  <c:v>37.397157816004999</c:v>
                </c:pt>
                <c:pt idx="256">
                  <c:v>12.493753123437999</c:v>
                </c:pt>
                <c:pt idx="257">
                  <c:v>0</c:v>
                </c:pt>
                <c:pt idx="258">
                  <c:v>24.993751562109001</c:v>
                </c:pt>
                <c:pt idx="259">
                  <c:v>50.037528146108997</c:v>
                </c:pt>
                <c:pt idx="260">
                  <c:v>62.680205591073999</c:v>
                </c:pt>
                <c:pt idx="261">
                  <c:v>25.103552152629</c:v>
                </c:pt>
                <c:pt idx="262">
                  <c:v>37.745344740815</c:v>
                </c:pt>
                <c:pt idx="263">
                  <c:v>75.585789871504005</c:v>
                </c:pt>
                <c:pt idx="264">
                  <c:v>88.205645161289993</c:v>
                </c:pt>
                <c:pt idx="265">
                  <c:v>50.409577819785</c:v>
                </c:pt>
                <c:pt idx="266">
                  <c:v>88.473205257836</c:v>
                </c:pt>
                <c:pt idx="267">
                  <c:v>25.303643724695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248-4A88-BB71-0570AF2D8D6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70</c:f>
              <c:numCache>
                <c:formatCode>m/d/yyyy</c:formatCode>
                <c:ptCount val="26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</c:numCache>
            </c:numRef>
          </c:cat>
          <c:val>
            <c:numRef>
              <c:f>List1!$C$2:$C$270</c:f>
              <c:numCache>
                <c:formatCode>General</c:formatCode>
                <c:ptCount val="26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2.274456855284001</c:v>
                </c:pt>
                <c:pt idx="11">
                  <c:v>10.354110581901001</c:v>
                </c:pt>
                <c:pt idx="12">
                  <c:v>0</c:v>
                </c:pt>
                <c:pt idx="13">
                  <c:v>0</c:v>
                </c:pt>
                <c:pt idx="14">
                  <c:v>8.7199162888030006</c:v>
                </c:pt>
                <c:pt idx="15">
                  <c:v>22.829312837682998</c:v>
                </c:pt>
                <c:pt idx="16">
                  <c:v>6.8390097113930004</c:v>
                </c:pt>
                <c:pt idx="17">
                  <c:v>12.270691453463</c:v>
                </c:pt>
                <c:pt idx="18">
                  <c:v>0</c:v>
                </c:pt>
                <c:pt idx="19">
                  <c:v>11.100627185435</c:v>
                </c:pt>
                <c:pt idx="20">
                  <c:v>5.4872695346790001</c:v>
                </c:pt>
                <c:pt idx="21">
                  <c:v>15.268729641693</c:v>
                </c:pt>
                <c:pt idx="22">
                  <c:v>9.6311278050650007</c:v>
                </c:pt>
                <c:pt idx="23">
                  <c:v>13.772839959599001</c:v>
                </c:pt>
                <c:pt idx="24">
                  <c:v>13.187972569017001</c:v>
                </c:pt>
                <c:pt idx="25">
                  <c:v>8.4799660801350001</c:v>
                </c:pt>
                <c:pt idx="26">
                  <c:v>8.4302815714040005</c:v>
                </c:pt>
                <c:pt idx="27">
                  <c:v>12.626262626261999</c:v>
                </c:pt>
                <c:pt idx="28">
                  <c:v>16.394114512889001</c:v>
                </c:pt>
                <c:pt idx="29">
                  <c:v>4.0168708576009999</c:v>
                </c:pt>
                <c:pt idx="30">
                  <c:v>11.887779362814999</c:v>
                </c:pt>
                <c:pt idx="31">
                  <c:v>7.8125</c:v>
                </c:pt>
                <c:pt idx="32">
                  <c:v>3.8543071882820001</c:v>
                </c:pt>
                <c:pt idx="33">
                  <c:v>7.6970443349749997</c:v>
                </c:pt>
                <c:pt idx="34">
                  <c:v>0</c:v>
                </c:pt>
                <c:pt idx="35">
                  <c:v>11.421609685525</c:v>
                </c:pt>
                <c:pt idx="36">
                  <c:v>15.045512675844</c:v>
                </c:pt>
                <c:pt idx="37">
                  <c:v>7.4571215510810003</c:v>
                </c:pt>
                <c:pt idx="38">
                  <c:v>7.3980912924459998</c:v>
                </c:pt>
                <c:pt idx="39">
                  <c:v>3.6619305697960001</c:v>
                </c:pt>
                <c:pt idx="40">
                  <c:v>3.6599202137389999</c:v>
                </c:pt>
                <c:pt idx="41">
                  <c:v>10.974137615685001</c:v>
                </c:pt>
                <c:pt idx="42">
                  <c:v>7.2759022118740004</c:v>
                </c:pt>
                <c:pt idx="43">
                  <c:v>14.470209456280999</c:v>
                </c:pt>
                <c:pt idx="44">
                  <c:v>10.795638562020001</c:v>
                </c:pt>
                <c:pt idx="45">
                  <c:v>10.741138560687</c:v>
                </c:pt>
                <c:pt idx="46">
                  <c:v>10.645470352365001</c:v>
                </c:pt>
                <c:pt idx="47">
                  <c:v>3.5474830607680001</c:v>
                </c:pt>
                <c:pt idx="48">
                  <c:v>3.5466023549429999</c:v>
                </c:pt>
                <c:pt idx="49">
                  <c:v>7.0459749867879999</c:v>
                </c:pt>
                <c:pt idx="50">
                  <c:v>7.0079540278210004</c:v>
                </c:pt>
                <c:pt idx="51">
                  <c:v>6.9652434352580004</c:v>
                </c:pt>
                <c:pt idx="52">
                  <c:v>3.4545894220469999</c:v>
                </c:pt>
                <c:pt idx="53">
                  <c:v>10.262374713508001</c:v>
                </c:pt>
                <c:pt idx="54">
                  <c:v>10.24625157963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9.9045858232359993</c:v>
                </c:pt>
                <c:pt idx="59">
                  <c:v>3.2659459812530001</c:v>
                </c:pt>
                <c:pt idx="60">
                  <c:v>0</c:v>
                </c:pt>
                <c:pt idx="61">
                  <c:v>6.4257028112440002</c:v>
                </c:pt>
                <c:pt idx="62">
                  <c:v>0</c:v>
                </c:pt>
                <c:pt idx="63">
                  <c:v>0</c:v>
                </c:pt>
                <c:pt idx="64">
                  <c:v>3.1475244720019999</c:v>
                </c:pt>
                <c:pt idx="65">
                  <c:v>3.109066036562</c:v>
                </c:pt>
                <c:pt idx="66">
                  <c:v>12.289164029616</c:v>
                </c:pt>
                <c:pt idx="67">
                  <c:v>6.0573020776539996</c:v>
                </c:pt>
                <c:pt idx="68">
                  <c:v>0</c:v>
                </c:pt>
                <c:pt idx="69">
                  <c:v>3.016591251885</c:v>
                </c:pt>
                <c:pt idx="70">
                  <c:v>5.9794307581909996</c:v>
                </c:pt>
                <c:pt idx="71">
                  <c:v>2.9596306380959998</c:v>
                </c:pt>
                <c:pt idx="72">
                  <c:v>0</c:v>
                </c:pt>
                <c:pt idx="73">
                  <c:v>0</c:v>
                </c:pt>
                <c:pt idx="74">
                  <c:v>2.8933510792189998</c:v>
                </c:pt>
                <c:pt idx="75">
                  <c:v>5.7696745903529996</c:v>
                </c:pt>
                <c:pt idx="76">
                  <c:v>5.7611983292520001</c:v>
                </c:pt>
                <c:pt idx="77">
                  <c:v>5.7555613111159998</c:v>
                </c:pt>
                <c:pt idx="78">
                  <c:v>0</c:v>
                </c:pt>
                <c:pt idx="79">
                  <c:v>11.334334532883</c:v>
                </c:pt>
                <c:pt idx="80">
                  <c:v>2.811595017853</c:v>
                </c:pt>
                <c:pt idx="81">
                  <c:v>8.3731055848609994</c:v>
                </c:pt>
                <c:pt idx="82">
                  <c:v>0</c:v>
                </c:pt>
                <c:pt idx="83">
                  <c:v>0</c:v>
                </c:pt>
                <c:pt idx="84">
                  <c:v>2.766404780347</c:v>
                </c:pt>
                <c:pt idx="85">
                  <c:v>5.5079727906139997</c:v>
                </c:pt>
                <c:pt idx="86">
                  <c:v>2.7398761575970001</c:v>
                </c:pt>
                <c:pt idx="87">
                  <c:v>13.633636908981</c:v>
                </c:pt>
                <c:pt idx="88">
                  <c:v>2.7120114989280002</c:v>
                </c:pt>
                <c:pt idx="89">
                  <c:v>0</c:v>
                </c:pt>
                <c:pt idx="90">
                  <c:v>8.1228169929330001</c:v>
                </c:pt>
                <c:pt idx="91">
                  <c:v>2.701096645237</c:v>
                </c:pt>
                <c:pt idx="92">
                  <c:v>5.3860447580309998</c:v>
                </c:pt>
                <c:pt idx="93">
                  <c:v>10.749509553626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5.3367488525980002</c:v>
                </c:pt>
                <c:pt idx="99">
                  <c:v>0</c:v>
                </c:pt>
                <c:pt idx="100">
                  <c:v>0</c:v>
                </c:pt>
                <c:pt idx="101">
                  <c:v>7.9679158588080004</c:v>
                </c:pt>
                <c:pt idx="102">
                  <c:v>0</c:v>
                </c:pt>
                <c:pt idx="103">
                  <c:v>2.6500596263410001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2.6411705667950001</c:v>
                </c:pt>
                <c:pt idx="108">
                  <c:v>0</c:v>
                </c:pt>
                <c:pt idx="109">
                  <c:v>0</c:v>
                </c:pt>
                <c:pt idx="110">
                  <c:v>2.6332420476089999</c:v>
                </c:pt>
                <c:pt idx="111">
                  <c:v>0</c:v>
                </c:pt>
                <c:pt idx="112">
                  <c:v>2.6277065377329998</c:v>
                </c:pt>
                <c:pt idx="113">
                  <c:v>2.6249475010490002</c:v>
                </c:pt>
                <c:pt idx="114">
                  <c:v>0</c:v>
                </c:pt>
                <c:pt idx="115">
                  <c:v>5.2382074853980001</c:v>
                </c:pt>
                <c:pt idx="116">
                  <c:v>5.2298519951879996</c:v>
                </c:pt>
                <c:pt idx="117">
                  <c:v>0</c:v>
                </c:pt>
                <c:pt idx="118">
                  <c:v>0</c:v>
                </c:pt>
                <c:pt idx="119">
                  <c:v>2.6038954275589998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2.5301082886340001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2.4555544641979998</c:v>
                </c:pt>
                <c:pt idx="151">
                  <c:v>0</c:v>
                </c:pt>
                <c:pt idx="153">
                  <c:v>2.446842349947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4.8536620880449997</c:v>
                </c:pt>
                <c:pt idx="159">
                  <c:v>0</c:v>
                </c:pt>
                <c:pt idx="161">
                  <c:v>4.8440224762639996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4.8118564142039997</c:v>
                </c:pt>
                <c:pt idx="166">
                  <c:v>0</c:v>
                </c:pt>
                <c:pt idx="167">
                  <c:v>2.404424140418</c:v>
                </c:pt>
                <c:pt idx="168">
                  <c:v>0</c:v>
                </c:pt>
                <c:pt idx="169">
                  <c:v>4.8074611797499998</c:v>
                </c:pt>
                <c:pt idx="170">
                  <c:v>2.400384061449</c:v>
                </c:pt>
                <c:pt idx="171">
                  <c:v>9.5914061001339999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4.7780591523720002</c:v>
                </c:pt>
                <c:pt idx="176">
                  <c:v>0</c:v>
                </c:pt>
                <c:pt idx="177">
                  <c:v>2.3829381627539998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7.0962248084009998</c:v>
                </c:pt>
                <c:pt idx="185">
                  <c:v>2.362558177995</c:v>
                </c:pt>
                <c:pt idx="186">
                  <c:v>0</c:v>
                </c:pt>
                <c:pt idx="187">
                  <c:v>0</c:v>
                </c:pt>
                <c:pt idx="188">
                  <c:v>4.7180938900680003</c:v>
                </c:pt>
                <c:pt idx="189">
                  <c:v>2.3568785500480001</c:v>
                </c:pt>
                <c:pt idx="190">
                  <c:v>0</c:v>
                </c:pt>
                <c:pt idx="191">
                  <c:v>4.7051073940760002</c:v>
                </c:pt>
                <c:pt idx="192">
                  <c:v>2.3507839864590001</c:v>
                </c:pt>
                <c:pt idx="193">
                  <c:v>2.3481344072130002</c:v>
                </c:pt>
                <c:pt idx="194">
                  <c:v>0</c:v>
                </c:pt>
                <c:pt idx="195">
                  <c:v>0</c:v>
                </c:pt>
                <c:pt idx="196">
                  <c:v>2.344830820456</c:v>
                </c:pt>
                <c:pt idx="197">
                  <c:v>0</c:v>
                </c:pt>
                <c:pt idx="198">
                  <c:v>0</c:v>
                </c:pt>
                <c:pt idx="199">
                  <c:v>4.6777060529509997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2.3334500058329999</c:v>
                </c:pt>
                <c:pt idx="204">
                  <c:v>0</c:v>
                </c:pt>
                <c:pt idx="205">
                  <c:v>2.329156379559</c:v>
                </c:pt>
                <c:pt idx="206">
                  <c:v>0</c:v>
                </c:pt>
                <c:pt idx="207">
                  <c:v>2.3252028739499999</c:v>
                </c:pt>
                <c:pt idx="208">
                  <c:v>2.3242300987790001</c:v>
                </c:pt>
                <c:pt idx="209">
                  <c:v>0</c:v>
                </c:pt>
                <c:pt idx="210">
                  <c:v>0</c:v>
                </c:pt>
                <c:pt idx="211">
                  <c:v>9.2809577948439994</c:v>
                </c:pt>
                <c:pt idx="212">
                  <c:v>6.9555540098759998</c:v>
                </c:pt>
                <c:pt idx="213">
                  <c:v>0</c:v>
                </c:pt>
                <c:pt idx="214">
                  <c:v>2.3132084200779999</c:v>
                </c:pt>
                <c:pt idx="215">
                  <c:v>4.6256678307929997</c:v>
                </c:pt>
                <c:pt idx="216">
                  <c:v>2.3123525875220001</c:v>
                </c:pt>
                <c:pt idx="217">
                  <c:v>0</c:v>
                </c:pt>
                <c:pt idx="218">
                  <c:v>4.6186176477379997</c:v>
                </c:pt>
                <c:pt idx="219">
                  <c:v>0</c:v>
                </c:pt>
                <c:pt idx="220">
                  <c:v>0</c:v>
                </c:pt>
                <c:pt idx="221">
                  <c:v>6.9116461237179996</c:v>
                </c:pt>
                <c:pt idx="222">
                  <c:v>4.6068088635000004</c:v>
                </c:pt>
                <c:pt idx="223">
                  <c:v>0</c:v>
                </c:pt>
                <c:pt idx="224">
                  <c:v>9.2070433881909999</c:v>
                </c:pt>
                <c:pt idx="225">
                  <c:v>2.300913462644</c:v>
                </c:pt>
                <c:pt idx="226">
                  <c:v>0</c:v>
                </c:pt>
                <c:pt idx="227">
                  <c:v>2.2992205642279999</c:v>
                </c:pt>
                <c:pt idx="228">
                  <c:v>2.2984278753330001</c:v>
                </c:pt>
                <c:pt idx="229">
                  <c:v>0</c:v>
                </c:pt>
                <c:pt idx="230">
                  <c:v>2.2980581408699998</c:v>
                </c:pt>
                <c:pt idx="231">
                  <c:v>0</c:v>
                </c:pt>
                <c:pt idx="232">
                  <c:v>4.5933717645429999</c:v>
                </c:pt>
                <c:pt idx="233">
                  <c:v>2.2957368167309999</c:v>
                </c:pt>
                <c:pt idx="234">
                  <c:v>4.5884188308700002</c:v>
                </c:pt>
                <c:pt idx="235">
                  <c:v>4.5866299736259997</c:v>
                </c:pt>
                <c:pt idx="236">
                  <c:v>0</c:v>
                </c:pt>
                <c:pt idx="237">
                  <c:v>2.2930520522809998</c:v>
                </c:pt>
                <c:pt idx="238">
                  <c:v>9.1711567121400002</c:v>
                </c:pt>
                <c:pt idx="239">
                  <c:v>6.8764755770499999</c:v>
                </c:pt>
                <c:pt idx="240">
                  <c:v>4.5831614647779997</c:v>
                </c:pt>
                <c:pt idx="241">
                  <c:v>18.322988479420001</c:v>
                </c:pt>
                <c:pt idx="242">
                  <c:v>4.5786497561859996</c:v>
                </c:pt>
                <c:pt idx="243">
                  <c:v>11.446100313623001</c:v>
                </c:pt>
                <c:pt idx="244">
                  <c:v>2.2891676586390002</c:v>
                </c:pt>
                <c:pt idx="245">
                  <c:v>0</c:v>
                </c:pt>
                <c:pt idx="246">
                  <c:v>4.5757166716229998</c:v>
                </c:pt>
                <c:pt idx="247">
                  <c:v>9.1501772846840002</c:v>
                </c:pt>
                <c:pt idx="248">
                  <c:v>11.431445620612999</c:v>
                </c:pt>
                <c:pt idx="249">
                  <c:v>11.424915455624999</c:v>
                </c:pt>
                <c:pt idx="250">
                  <c:v>2.2848786729419999</c:v>
                </c:pt>
                <c:pt idx="251">
                  <c:v>2.2847220635599998</c:v>
                </c:pt>
                <c:pt idx="252">
                  <c:v>6.8524440383730001</c:v>
                </c:pt>
                <c:pt idx="253">
                  <c:v>15.989036089538001</c:v>
                </c:pt>
                <c:pt idx="254">
                  <c:v>13.696753869331999</c:v>
                </c:pt>
                <c:pt idx="255">
                  <c:v>9.1286685836870003</c:v>
                </c:pt>
                <c:pt idx="256">
                  <c:v>11.406410402645999</c:v>
                </c:pt>
                <c:pt idx="257">
                  <c:v>11.406410402645999</c:v>
                </c:pt>
                <c:pt idx="258">
                  <c:v>13.687692483175001</c:v>
                </c:pt>
                <c:pt idx="259">
                  <c:v>29.652608289044</c:v>
                </c:pt>
                <c:pt idx="260">
                  <c:v>27.361652643818999</c:v>
                </c:pt>
                <c:pt idx="261">
                  <c:v>25.076368941777002</c:v>
                </c:pt>
                <c:pt idx="262">
                  <c:v>22.787867739214999</c:v>
                </c:pt>
                <c:pt idx="263">
                  <c:v>25.061514626811</c:v>
                </c:pt>
                <c:pt idx="264">
                  <c:v>15.94787323719</c:v>
                </c:pt>
                <c:pt idx="265">
                  <c:v>18.226140842503</c:v>
                </c:pt>
                <c:pt idx="266">
                  <c:v>50.097918659196999</c:v>
                </c:pt>
                <c:pt idx="267">
                  <c:v>36.429043054574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248-4A88-BB71-0570AF2D8D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2</c:f>
              <c:numCache>
                <c:formatCode>m/d/yyyy</c:formatCode>
                <c:ptCount val="15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70</c:v>
                </c:pt>
                <c:pt idx="5">
                  <c:v>44371</c:v>
                </c:pt>
                <c:pt idx="6">
                  <c:v>44373</c:v>
                </c:pt>
                <c:pt idx="7">
                  <c:v>44374</c:v>
                </c:pt>
                <c:pt idx="8">
                  <c:v>44375</c:v>
                </c:pt>
                <c:pt idx="9">
                  <c:v>44376</c:v>
                </c:pt>
                <c:pt idx="10">
                  <c:v>44378</c:v>
                </c:pt>
                <c:pt idx="11">
                  <c:v>44379</c:v>
                </c:pt>
                <c:pt idx="12">
                  <c:v>44381</c:v>
                </c:pt>
                <c:pt idx="13">
                  <c:v>44382</c:v>
                </c:pt>
                <c:pt idx="14">
                  <c:v>44383</c:v>
                </c:pt>
                <c:pt idx="15">
                  <c:v>44384</c:v>
                </c:pt>
                <c:pt idx="16">
                  <c:v>44385</c:v>
                </c:pt>
                <c:pt idx="17">
                  <c:v>44386</c:v>
                </c:pt>
                <c:pt idx="18">
                  <c:v>44387</c:v>
                </c:pt>
                <c:pt idx="19">
                  <c:v>44389</c:v>
                </c:pt>
                <c:pt idx="20">
                  <c:v>44390</c:v>
                </c:pt>
                <c:pt idx="21">
                  <c:v>44391</c:v>
                </c:pt>
                <c:pt idx="22">
                  <c:v>44392</c:v>
                </c:pt>
                <c:pt idx="23">
                  <c:v>44393</c:v>
                </c:pt>
                <c:pt idx="24">
                  <c:v>44394</c:v>
                </c:pt>
                <c:pt idx="25">
                  <c:v>44395</c:v>
                </c:pt>
                <c:pt idx="26">
                  <c:v>44396</c:v>
                </c:pt>
                <c:pt idx="27">
                  <c:v>44397</c:v>
                </c:pt>
                <c:pt idx="28">
                  <c:v>44398</c:v>
                </c:pt>
                <c:pt idx="29">
                  <c:v>44399</c:v>
                </c:pt>
                <c:pt idx="30">
                  <c:v>44400</c:v>
                </c:pt>
                <c:pt idx="31">
                  <c:v>44401</c:v>
                </c:pt>
                <c:pt idx="32">
                  <c:v>44402</c:v>
                </c:pt>
                <c:pt idx="33">
                  <c:v>44403</c:v>
                </c:pt>
                <c:pt idx="34">
                  <c:v>44404</c:v>
                </c:pt>
                <c:pt idx="35">
                  <c:v>44405</c:v>
                </c:pt>
                <c:pt idx="36">
                  <c:v>44406</c:v>
                </c:pt>
                <c:pt idx="37">
                  <c:v>44407</c:v>
                </c:pt>
                <c:pt idx="38">
                  <c:v>44408</c:v>
                </c:pt>
                <c:pt idx="39">
                  <c:v>44409</c:v>
                </c:pt>
                <c:pt idx="40">
                  <c:v>44410</c:v>
                </c:pt>
                <c:pt idx="41">
                  <c:v>44411</c:v>
                </c:pt>
                <c:pt idx="42">
                  <c:v>44412</c:v>
                </c:pt>
                <c:pt idx="43">
                  <c:v>44413</c:v>
                </c:pt>
                <c:pt idx="44">
                  <c:v>44414</c:v>
                </c:pt>
                <c:pt idx="45">
                  <c:v>44415</c:v>
                </c:pt>
                <c:pt idx="46">
                  <c:v>44416</c:v>
                </c:pt>
                <c:pt idx="47">
                  <c:v>44417</c:v>
                </c:pt>
                <c:pt idx="48">
                  <c:v>44418</c:v>
                </c:pt>
                <c:pt idx="49">
                  <c:v>44419</c:v>
                </c:pt>
                <c:pt idx="50">
                  <c:v>44420</c:v>
                </c:pt>
                <c:pt idx="51">
                  <c:v>44421</c:v>
                </c:pt>
                <c:pt idx="52">
                  <c:v>44422</c:v>
                </c:pt>
                <c:pt idx="53">
                  <c:v>44423</c:v>
                </c:pt>
                <c:pt idx="54">
                  <c:v>44424</c:v>
                </c:pt>
                <c:pt idx="55">
                  <c:v>44425</c:v>
                </c:pt>
                <c:pt idx="56">
                  <c:v>44426</c:v>
                </c:pt>
                <c:pt idx="57">
                  <c:v>44427</c:v>
                </c:pt>
                <c:pt idx="58">
                  <c:v>44428</c:v>
                </c:pt>
                <c:pt idx="59">
                  <c:v>44429</c:v>
                </c:pt>
                <c:pt idx="60">
                  <c:v>44430</c:v>
                </c:pt>
                <c:pt idx="61">
                  <c:v>44431</c:v>
                </c:pt>
                <c:pt idx="62">
                  <c:v>44432</c:v>
                </c:pt>
                <c:pt idx="63">
                  <c:v>44433</c:v>
                </c:pt>
                <c:pt idx="64">
                  <c:v>44434</c:v>
                </c:pt>
                <c:pt idx="65">
                  <c:v>44435</c:v>
                </c:pt>
                <c:pt idx="66">
                  <c:v>44436</c:v>
                </c:pt>
                <c:pt idx="67">
                  <c:v>44437</c:v>
                </c:pt>
                <c:pt idx="68">
                  <c:v>44438</c:v>
                </c:pt>
                <c:pt idx="69">
                  <c:v>44439</c:v>
                </c:pt>
                <c:pt idx="70">
                  <c:v>44440</c:v>
                </c:pt>
                <c:pt idx="71">
                  <c:v>44441</c:v>
                </c:pt>
                <c:pt idx="72">
                  <c:v>44442</c:v>
                </c:pt>
                <c:pt idx="73">
                  <c:v>44443</c:v>
                </c:pt>
                <c:pt idx="74">
                  <c:v>44444</c:v>
                </c:pt>
                <c:pt idx="75">
                  <c:v>44445</c:v>
                </c:pt>
                <c:pt idx="76">
                  <c:v>44446</c:v>
                </c:pt>
                <c:pt idx="77">
                  <c:v>44447</c:v>
                </c:pt>
                <c:pt idx="78">
                  <c:v>44448</c:v>
                </c:pt>
                <c:pt idx="79">
                  <c:v>44449</c:v>
                </c:pt>
                <c:pt idx="80">
                  <c:v>44450</c:v>
                </c:pt>
                <c:pt idx="81">
                  <c:v>44451</c:v>
                </c:pt>
                <c:pt idx="82">
                  <c:v>44452</c:v>
                </c:pt>
                <c:pt idx="83">
                  <c:v>44453</c:v>
                </c:pt>
                <c:pt idx="84">
                  <c:v>44454</c:v>
                </c:pt>
                <c:pt idx="85">
                  <c:v>44455</c:v>
                </c:pt>
                <c:pt idx="86">
                  <c:v>44456</c:v>
                </c:pt>
                <c:pt idx="87">
                  <c:v>44457</c:v>
                </c:pt>
                <c:pt idx="88">
                  <c:v>44458</c:v>
                </c:pt>
                <c:pt idx="89">
                  <c:v>44459</c:v>
                </c:pt>
                <c:pt idx="90">
                  <c:v>44460</c:v>
                </c:pt>
                <c:pt idx="91">
                  <c:v>44461</c:v>
                </c:pt>
                <c:pt idx="92">
                  <c:v>44462</c:v>
                </c:pt>
                <c:pt idx="93">
                  <c:v>44463</c:v>
                </c:pt>
                <c:pt idx="94">
                  <c:v>44464</c:v>
                </c:pt>
                <c:pt idx="95">
                  <c:v>44465</c:v>
                </c:pt>
                <c:pt idx="96">
                  <c:v>44466</c:v>
                </c:pt>
                <c:pt idx="97">
                  <c:v>44467</c:v>
                </c:pt>
                <c:pt idx="98">
                  <c:v>44468</c:v>
                </c:pt>
                <c:pt idx="99">
                  <c:v>44469</c:v>
                </c:pt>
                <c:pt idx="100">
                  <c:v>44470</c:v>
                </c:pt>
                <c:pt idx="101">
                  <c:v>44471</c:v>
                </c:pt>
                <c:pt idx="102">
                  <c:v>44472</c:v>
                </c:pt>
                <c:pt idx="103">
                  <c:v>44473</c:v>
                </c:pt>
                <c:pt idx="104">
                  <c:v>44474</c:v>
                </c:pt>
                <c:pt idx="105">
                  <c:v>44475</c:v>
                </c:pt>
                <c:pt idx="106">
                  <c:v>44476</c:v>
                </c:pt>
                <c:pt idx="107">
                  <c:v>44477</c:v>
                </c:pt>
                <c:pt idx="108">
                  <c:v>44478</c:v>
                </c:pt>
                <c:pt idx="109">
                  <c:v>44479</c:v>
                </c:pt>
                <c:pt idx="110">
                  <c:v>44480</c:v>
                </c:pt>
                <c:pt idx="111">
                  <c:v>44481</c:v>
                </c:pt>
                <c:pt idx="112">
                  <c:v>44482</c:v>
                </c:pt>
                <c:pt idx="113">
                  <c:v>44483</c:v>
                </c:pt>
                <c:pt idx="114">
                  <c:v>44484</c:v>
                </c:pt>
                <c:pt idx="115">
                  <c:v>44485</c:v>
                </c:pt>
                <c:pt idx="116">
                  <c:v>44486</c:v>
                </c:pt>
                <c:pt idx="117">
                  <c:v>44487</c:v>
                </c:pt>
                <c:pt idx="118">
                  <c:v>44488</c:v>
                </c:pt>
                <c:pt idx="119">
                  <c:v>44489</c:v>
                </c:pt>
                <c:pt idx="120">
                  <c:v>44490</c:v>
                </c:pt>
                <c:pt idx="121">
                  <c:v>44491</c:v>
                </c:pt>
                <c:pt idx="122">
                  <c:v>44492</c:v>
                </c:pt>
                <c:pt idx="123">
                  <c:v>44493</c:v>
                </c:pt>
                <c:pt idx="124">
                  <c:v>44494</c:v>
                </c:pt>
                <c:pt idx="125">
                  <c:v>44495</c:v>
                </c:pt>
              </c:numCache>
            </c:numRef>
          </c:cat>
          <c:val>
            <c:numRef>
              <c:f>Sheet1!$B$135:$B$292</c:f>
              <c:numCache>
                <c:formatCode>General</c:formatCode>
                <c:ptCount val="158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2</c:v>
                </c:pt>
                <c:pt idx="12">
                  <c:v>1</c:v>
                </c:pt>
                <c:pt idx="13">
                  <c:v>4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2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0</c:v>
                </c:pt>
                <c:pt idx="24">
                  <c:v>0</c:v>
                </c:pt>
                <c:pt idx="25">
                  <c:v>2</c:v>
                </c:pt>
                <c:pt idx="26">
                  <c:v>5</c:v>
                </c:pt>
                <c:pt idx="27">
                  <c:v>1</c:v>
                </c:pt>
                <c:pt idx="28">
                  <c:v>4</c:v>
                </c:pt>
                <c:pt idx="29">
                  <c:v>0</c:v>
                </c:pt>
                <c:pt idx="30">
                  <c:v>4</c:v>
                </c:pt>
                <c:pt idx="31">
                  <c:v>1</c:v>
                </c:pt>
                <c:pt idx="32">
                  <c:v>1</c:v>
                </c:pt>
                <c:pt idx="33">
                  <c:v>3</c:v>
                </c:pt>
                <c:pt idx="34">
                  <c:v>0</c:v>
                </c:pt>
                <c:pt idx="35">
                  <c:v>0</c:v>
                </c:pt>
                <c:pt idx="36">
                  <c:v>2</c:v>
                </c:pt>
                <c:pt idx="37">
                  <c:v>1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1</c:v>
                </c:pt>
                <c:pt idx="51">
                  <c:v>2</c:v>
                </c:pt>
                <c:pt idx="52">
                  <c:v>3</c:v>
                </c:pt>
                <c:pt idx="53">
                  <c:v>1</c:v>
                </c:pt>
                <c:pt idx="54">
                  <c:v>3</c:v>
                </c:pt>
                <c:pt idx="55">
                  <c:v>3</c:v>
                </c:pt>
                <c:pt idx="56">
                  <c:v>2</c:v>
                </c:pt>
                <c:pt idx="57">
                  <c:v>1</c:v>
                </c:pt>
                <c:pt idx="58">
                  <c:v>0</c:v>
                </c:pt>
                <c:pt idx="59">
                  <c:v>0</c:v>
                </c:pt>
                <c:pt idx="60">
                  <c:v>1</c:v>
                </c:pt>
                <c:pt idx="61">
                  <c:v>5</c:v>
                </c:pt>
                <c:pt idx="62">
                  <c:v>2</c:v>
                </c:pt>
                <c:pt idx="63">
                  <c:v>0</c:v>
                </c:pt>
                <c:pt idx="64">
                  <c:v>2</c:v>
                </c:pt>
                <c:pt idx="65">
                  <c:v>1</c:v>
                </c:pt>
                <c:pt idx="66">
                  <c:v>2</c:v>
                </c:pt>
                <c:pt idx="67">
                  <c:v>1</c:v>
                </c:pt>
                <c:pt idx="68">
                  <c:v>0</c:v>
                </c:pt>
                <c:pt idx="69">
                  <c:v>2</c:v>
                </c:pt>
                <c:pt idx="70">
                  <c:v>1</c:v>
                </c:pt>
                <c:pt idx="71">
                  <c:v>6</c:v>
                </c:pt>
                <c:pt idx="72">
                  <c:v>6</c:v>
                </c:pt>
                <c:pt idx="73">
                  <c:v>1</c:v>
                </c:pt>
                <c:pt idx="74">
                  <c:v>1</c:v>
                </c:pt>
                <c:pt idx="75">
                  <c:v>2</c:v>
                </c:pt>
                <c:pt idx="76">
                  <c:v>5</c:v>
                </c:pt>
                <c:pt idx="77">
                  <c:v>1</c:v>
                </c:pt>
                <c:pt idx="78">
                  <c:v>4</c:v>
                </c:pt>
                <c:pt idx="79">
                  <c:v>0</c:v>
                </c:pt>
                <c:pt idx="80">
                  <c:v>1</c:v>
                </c:pt>
                <c:pt idx="81">
                  <c:v>2</c:v>
                </c:pt>
                <c:pt idx="82">
                  <c:v>3</c:v>
                </c:pt>
                <c:pt idx="83">
                  <c:v>4</c:v>
                </c:pt>
                <c:pt idx="84">
                  <c:v>3</c:v>
                </c:pt>
                <c:pt idx="85">
                  <c:v>8</c:v>
                </c:pt>
                <c:pt idx="86">
                  <c:v>6</c:v>
                </c:pt>
                <c:pt idx="87">
                  <c:v>2</c:v>
                </c:pt>
                <c:pt idx="88">
                  <c:v>2</c:v>
                </c:pt>
                <c:pt idx="89">
                  <c:v>10</c:v>
                </c:pt>
                <c:pt idx="90">
                  <c:v>7</c:v>
                </c:pt>
                <c:pt idx="91">
                  <c:v>6</c:v>
                </c:pt>
                <c:pt idx="92">
                  <c:v>5</c:v>
                </c:pt>
                <c:pt idx="93">
                  <c:v>7</c:v>
                </c:pt>
                <c:pt idx="94">
                  <c:v>6</c:v>
                </c:pt>
                <c:pt idx="95">
                  <c:v>6</c:v>
                </c:pt>
                <c:pt idx="96">
                  <c:v>5</c:v>
                </c:pt>
                <c:pt idx="97">
                  <c:v>9</c:v>
                </c:pt>
                <c:pt idx="98">
                  <c:v>12</c:v>
                </c:pt>
                <c:pt idx="99">
                  <c:v>16</c:v>
                </c:pt>
                <c:pt idx="100">
                  <c:v>8</c:v>
                </c:pt>
                <c:pt idx="101">
                  <c:v>5</c:v>
                </c:pt>
                <c:pt idx="102">
                  <c:v>8</c:v>
                </c:pt>
                <c:pt idx="103">
                  <c:v>10</c:v>
                </c:pt>
                <c:pt idx="104">
                  <c:v>13</c:v>
                </c:pt>
                <c:pt idx="105">
                  <c:v>9</c:v>
                </c:pt>
                <c:pt idx="106">
                  <c:v>8</c:v>
                </c:pt>
                <c:pt idx="107">
                  <c:v>8</c:v>
                </c:pt>
                <c:pt idx="108">
                  <c:v>5</c:v>
                </c:pt>
                <c:pt idx="109">
                  <c:v>4</c:v>
                </c:pt>
                <c:pt idx="110">
                  <c:v>17</c:v>
                </c:pt>
                <c:pt idx="111">
                  <c:v>19</c:v>
                </c:pt>
                <c:pt idx="112">
                  <c:v>22</c:v>
                </c:pt>
                <c:pt idx="113">
                  <c:v>19</c:v>
                </c:pt>
                <c:pt idx="114">
                  <c:v>17</c:v>
                </c:pt>
                <c:pt idx="115">
                  <c:v>10</c:v>
                </c:pt>
                <c:pt idx="116">
                  <c:v>10</c:v>
                </c:pt>
                <c:pt idx="117">
                  <c:v>35</c:v>
                </c:pt>
                <c:pt idx="118">
                  <c:v>29</c:v>
                </c:pt>
                <c:pt idx="119">
                  <c:v>26</c:v>
                </c:pt>
                <c:pt idx="120">
                  <c:v>52</c:v>
                </c:pt>
                <c:pt idx="121">
                  <c:v>43</c:v>
                </c:pt>
                <c:pt idx="122">
                  <c:v>34</c:v>
                </c:pt>
                <c:pt idx="123">
                  <c:v>11</c:v>
                </c:pt>
                <c:pt idx="124">
                  <c:v>62</c:v>
                </c:pt>
                <c:pt idx="125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70</c:f>
              <c:numCache>
                <c:formatCode>m/d/yyyy</c:formatCode>
                <c:ptCount val="26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</c:numCache>
            </c:numRef>
          </c:cat>
          <c:val>
            <c:numRef>
              <c:f>List1!$B$2:$B$270</c:f>
              <c:numCache>
                <c:formatCode>General</c:formatCode>
                <c:ptCount val="269"/>
                <c:pt idx="0">
                  <c:v>124.38176387052501</c:v>
                </c:pt>
                <c:pt idx="1">
                  <c:v>112.513694100926</c:v>
                </c:pt>
                <c:pt idx="2">
                  <c:v>134.31232091690501</c:v>
                </c:pt>
                <c:pt idx="3">
                  <c:v>110.073749412106</c:v>
                </c:pt>
                <c:pt idx="4">
                  <c:v>110.466167225692</c:v>
                </c:pt>
                <c:pt idx="5">
                  <c:v>53.399965743418001</c:v>
                </c:pt>
                <c:pt idx="6">
                  <c:v>29.302992947071999</c:v>
                </c:pt>
                <c:pt idx="7">
                  <c:v>131.77653151910701</c:v>
                </c:pt>
                <c:pt idx="8">
                  <c:v>121.269913659967</c:v>
                </c:pt>
                <c:pt idx="9">
                  <c:v>107.452120599203</c:v>
                </c:pt>
                <c:pt idx="10">
                  <c:v>116.185250927868</c:v>
                </c:pt>
                <c:pt idx="11">
                  <c:v>113.870033387136</c:v>
                </c:pt>
                <c:pt idx="12">
                  <c:v>53.192078812929999</c:v>
                </c:pt>
                <c:pt idx="13">
                  <c:v>29.988337868605999</c:v>
                </c:pt>
                <c:pt idx="14">
                  <c:v>141.172184525706</c:v>
                </c:pt>
                <c:pt idx="15">
                  <c:v>138.45702552067999</c:v>
                </c:pt>
                <c:pt idx="16">
                  <c:v>137.508443500916</c:v>
                </c:pt>
                <c:pt idx="17">
                  <c:v>132.15145054917599</c:v>
                </c:pt>
                <c:pt idx="18">
                  <c:v>157.694329414479</c:v>
                </c:pt>
                <c:pt idx="19">
                  <c:v>73.356241071772999</c:v>
                </c:pt>
                <c:pt idx="20">
                  <c:v>42.605933844604003</c:v>
                </c:pt>
                <c:pt idx="21">
                  <c:v>160.00423151686601</c:v>
                </c:pt>
                <c:pt idx="22">
                  <c:v>205.27780028630801</c:v>
                </c:pt>
                <c:pt idx="23">
                  <c:v>170.86479634018599</c:v>
                </c:pt>
                <c:pt idx="24">
                  <c:v>175.65307814454101</c:v>
                </c:pt>
                <c:pt idx="25">
                  <c:v>196.072818868788</c:v>
                </c:pt>
                <c:pt idx="26">
                  <c:v>103.27318626466599</c:v>
                </c:pt>
                <c:pt idx="27">
                  <c:v>48.802193227978002</c:v>
                </c:pt>
                <c:pt idx="28">
                  <c:v>168.5042343952</c:v>
                </c:pt>
                <c:pt idx="29">
                  <c:v>200.90333176912199</c:v>
                </c:pt>
                <c:pt idx="30">
                  <c:v>162.73874513633001</c:v>
                </c:pt>
                <c:pt idx="31">
                  <c:v>162.905395307128</c:v>
                </c:pt>
                <c:pt idx="32">
                  <c:v>164.28280757810899</c:v>
                </c:pt>
                <c:pt idx="33">
                  <c:v>90.466354055154</c:v>
                </c:pt>
                <c:pt idx="34">
                  <c:v>54.303556882975002</c:v>
                </c:pt>
                <c:pt idx="35">
                  <c:v>157.807687055217</c:v>
                </c:pt>
                <c:pt idx="36">
                  <c:v>169.63917289441099</c:v>
                </c:pt>
                <c:pt idx="37">
                  <c:v>185.933586366919</c:v>
                </c:pt>
                <c:pt idx="38">
                  <c:v>129.775827707139</c:v>
                </c:pt>
                <c:pt idx="39">
                  <c:v>161.834959463454</c:v>
                </c:pt>
                <c:pt idx="40">
                  <c:v>76.256283362123</c:v>
                </c:pt>
                <c:pt idx="41">
                  <c:v>45.131269744930002</c:v>
                </c:pt>
                <c:pt idx="42">
                  <c:v>154.54744138124801</c:v>
                </c:pt>
                <c:pt idx="43">
                  <c:v>139.47219958628401</c:v>
                </c:pt>
                <c:pt idx="44">
                  <c:v>140.133205271527</c:v>
                </c:pt>
                <c:pt idx="45">
                  <c:v>128.10577424915701</c:v>
                </c:pt>
                <c:pt idx="46">
                  <c:v>117.772508076965</c:v>
                </c:pt>
                <c:pt idx="47">
                  <c:v>44.566117017890001</c:v>
                </c:pt>
                <c:pt idx="48">
                  <c:v>35.019579128330001</c:v>
                </c:pt>
                <c:pt idx="49">
                  <c:v>147.221199852778</c:v>
                </c:pt>
                <c:pt idx="50">
                  <c:v>98.100706003441005</c:v>
                </c:pt>
                <c:pt idx="51">
                  <c:v>105.15247108307</c:v>
                </c:pt>
                <c:pt idx="52">
                  <c:v>75.092232851218995</c:v>
                </c:pt>
                <c:pt idx="53">
                  <c:v>85.760464425899002</c:v>
                </c:pt>
                <c:pt idx="54">
                  <c:v>44.575051178762003</c:v>
                </c:pt>
                <c:pt idx="55">
                  <c:v>23.137436372048999</c:v>
                </c:pt>
                <c:pt idx="56">
                  <c:v>86.640674464327006</c:v>
                </c:pt>
                <c:pt idx="57">
                  <c:v>89.005323525953997</c:v>
                </c:pt>
                <c:pt idx="58">
                  <c:v>55.946427057725998</c:v>
                </c:pt>
                <c:pt idx="59">
                  <c:v>84.003360134405</c:v>
                </c:pt>
                <c:pt idx="60">
                  <c:v>43.470700747696</c:v>
                </c:pt>
                <c:pt idx="61">
                  <c:v>36.545255207697998</c:v>
                </c:pt>
                <c:pt idx="62">
                  <c:v>40.038297501957999</c:v>
                </c:pt>
                <c:pt idx="63">
                  <c:v>36.920480317867003</c:v>
                </c:pt>
                <c:pt idx="64">
                  <c:v>111.832996059218</c:v>
                </c:pt>
                <c:pt idx="65">
                  <c:v>86.087845472316999</c:v>
                </c:pt>
                <c:pt idx="66">
                  <c:v>61.763156460607</c:v>
                </c:pt>
                <c:pt idx="67">
                  <c:v>47.970479704797</c:v>
                </c:pt>
                <c:pt idx="68">
                  <c:v>22.187297772025001</c:v>
                </c:pt>
                <c:pt idx="69">
                  <c:v>14.802753312116</c:v>
                </c:pt>
                <c:pt idx="70">
                  <c:v>35.568534950764999</c:v>
                </c:pt>
                <c:pt idx="71">
                  <c:v>49.298445202882</c:v>
                </c:pt>
                <c:pt idx="72">
                  <c:v>44.213763936946997</c:v>
                </c:pt>
                <c:pt idx="73">
                  <c:v>37.168176216279001</c:v>
                </c:pt>
                <c:pt idx="74">
                  <c:v>45.257772530498997</c:v>
                </c:pt>
                <c:pt idx="75">
                  <c:v>11.842261082382</c:v>
                </c:pt>
                <c:pt idx="76">
                  <c:v>9.8937412193039993</c:v>
                </c:pt>
                <c:pt idx="77">
                  <c:v>51.552524090890998</c:v>
                </c:pt>
                <c:pt idx="78">
                  <c:v>46.455261563320001</c:v>
                </c:pt>
                <c:pt idx="79">
                  <c:v>34.825361057052</c:v>
                </c:pt>
                <c:pt idx="80">
                  <c:v>24.965672200724001</c:v>
                </c:pt>
                <c:pt idx="81">
                  <c:v>16.931216931215999</c:v>
                </c:pt>
                <c:pt idx="82">
                  <c:v>17.022363129561001</c:v>
                </c:pt>
                <c:pt idx="83">
                  <c:v>6.4002730783180004</c:v>
                </c:pt>
                <c:pt idx="84">
                  <c:v>21.556369907307001</c:v>
                </c:pt>
                <c:pt idx="85">
                  <c:v>21.816436503260999</c:v>
                </c:pt>
                <c:pt idx="86">
                  <c:v>13.249127765755</c:v>
                </c:pt>
                <c:pt idx="87">
                  <c:v>31.254185828459001</c:v>
                </c:pt>
                <c:pt idx="88">
                  <c:v>27.157308710706001</c:v>
                </c:pt>
                <c:pt idx="89">
                  <c:v>6.8039553660519996</c:v>
                </c:pt>
                <c:pt idx="90">
                  <c:v>6.8201968763489997</c:v>
                </c:pt>
                <c:pt idx="91">
                  <c:v>36.66445152272</c:v>
                </c:pt>
                <c:pt idx="92">
                  <c:v>16.146518118698999</c:v>
                </c:pt>
                <c:pt idx="93">
                  <c:v>16.237531895151001</c:v>
                </c:pt>
                <c:pt idx="94">
                  <c:v>11.677331963193</c:v>
                </c:pt>
                <c:pt idx="95">
                  <c:v>28.177612886561</c:v>
                </c:pt>
                <c:pt idx="96">
                  <c:v>11.755854415498</c:v>
                </c:pt>
                <c:pt idx="97">
                  <c:v>7.0666384001129998</c:v>
                </c:pt>
                <c:pt idx="98">
                  <c:v>23.640661938533999</c:v>
                </c:pt>
                <c:pt idx="99">
                  <c:v>42.720843024635002</c:v>
                </c:pt>
                <c:pt idx="100">
                  <c:v>9.5403916330760001</c:v>
                </c:pt>
                <c:pt idx="101">
                  <c:v>16.774100788382</c:v>
                </c:pt>
                <c:pt idx="102">
                  <c:v>14.446343871138</c:v>
                </c:pt>
                <c:pt idx="103">
                  <c:v>0</c:v>
                </c:pt>
                <c:pt idx="104">
                  <c:v>2.4109166305019998</c:v>
                </c:pt>
                <c:pt idx="105">
                  <c:v>9.6653376827350002</c:v>
                </c:pt>
                <c:pt idx="106">
                  <c:v>4.8419115866939997</c:v>
                </c:pt>
                <c:pt idx="107">
                  <c:v>4.8575522794059998</c:v>
                </c:pt>
                <c:pt idx="108">
                  <c:v>9.7537186052179994</c:v>
                </c:pt>
                <c:pt idx="109">
                  <c:v>4.89644028791</c:v>
                </c:pt>
                <c:pt idx="110">
                  <c:v>7.3473586245740004</c:v>
                </c:pt>
                <c:pt idx="111">
                  <c:v>0</c:v>
                </c:pt>
                <c:pt idx="112">
                  <c:v>4.9120738775910002</c:v>
                </c:pt>
                <c:pt idx="113">
                  <c:v>9.8437307739629993</c:v>
                </c:pt>
                <c:pt idx="114">
                  <c:v>14.822500555843</c:v>
                </c:pt>
                <c:pt idx="115">
                  <c:v>7.4362342909550003</c:v>
                </c:pt>
                <c:pt idx="116">
                  <c:v>4.9773530436510001</c:v>
                </c:pt>
                <c:pt idx="117">
                  <c:v>0</c:v>
                </c:pt>
                <c:pt idx="118">
                  <c:v>0</c:v>
                </c:pt>
                <c:pt idx="119">
                  <c:v>7.5248319454189998</c:v>
                </c:pt>
                <c:pt idx="120">
                  <c:v>2.525188757859</c:v>
                </c:pt>
                <c:pt idx="121">
                  <c:v>0</c:v>
                </c:pt>
                <c:pt idx="122">
                  <c:v>10.265359544218001</c:v>
                </c:pt>
                <c:pt idx="123">
                  <c:v>2.5903380391140001</c:v>
                </c:pt>
                <c:pt idx="124">
                  <c:v>0</c:v>
                </c:pt>
                <c:pt idx="125">
                  <c:v>2.5970653161919999</c:v>
                </c:pt>
                <c:pt idx="126">
                  <c:v>2.6156783761860001</c:v>
                </c:pt>
                <c:pt idx="127">
                  <c:v>0</c:v>
                </c:pt>
                <c:pt idx="128">
                  <c:v>2.6528717336510002</c:v>
                </c:pt>
                <c:pt idx="129">
                  <c:v>2.6794566062</c:v>
                </c:pt>
                <c:pt idx="131">
                  <c:v>2.718425487957</c:v>
                </c:pt>
                <c:pt idx="132">
                  <c:v>2.725018393874</c:v>
                </c:pt>
                <c:pt idx="133">
                  <c:v>2.7420548959389999</c:v>
                </c:pt>
                <c:pt idx="135">
                  <c:v>0</c:v>
                </c:pt>
                <c:pt idx="136">
                  <c:v>5.6052240688320003</c:v>
                </c:pt>
                <c:pt idx="137">
                  <c:v>8.4860828241679993</c:v>
                </c:pt>
                <c:pt idx="138">
                  <c:v>0</c:v>
                </c:pt>
                <c:pt idx="139">
                  <c:v>0</c:v>
                </c:pt>
                <c:pt idx="142">
                  <c:v>2.891844997108</c:v>
                </c:pt>
                <c:pt idx="143">
                  <c:v>2.9122255227439999</c:v>
                </c:pt>
                <c:pt idx="145">
                  <c:v>0</c:v>
                </c:pt>
                <c:pt idx="146">
                  <c:v>2.9491565412290002</c:v>
                </c:pt>
                <c:pt idx="147">
                  <c:v>0</c:v>
                </c:pt>
                <c:pt idx="148">
                  <c:v>5.9672992003810004</c:v>
                </c:pt>
                <c:pt idx="150">
                  <c:v>3.0233401862370002</c:v>
                </c:pt>
                <c:pt idx="151">
                  <c:v>3.0449742699670002</c:v>
                </c:pt>
                <c:pt idx="153">
                  <c:v>3.057355998532</c:v>
                </c:pt>
                <c:pt idx="154">
                  <c:v>6.1462814996919999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3.156665298778</c:v>
                </c:pt>
                <c:pt idx="159">
                  <c:v>3.1611557185299999</c:v>
                </c:pt>
                <c:pt idx="161">
                  <c:v>3.1846119550330001</c:v>
                </c:pt>
                <c:pt idx="162">
                  <c:v>6.4133397466730004</c:v>
                </c:pt>
                <c:pt idx="163">
                  <c:v>3.2312265736070001</c:v>
                </c:pt>
                <c:pt idx="164">
                  <c:v>9.768486861385</c:v>
                </c:pt>
                <c:pt idx="165">
                  <c:v>0</c:v>
                </c:pt>
                <c:pt idx="166">
                  <c:v>0</c:v>
                </c:pt>
                <c:pt idx="167">
                  <c:v>6.5735414954799998</c:v>
                </c:pt>
                <c:pt idx="168">
                  <c:v>6.5800296101329998</c:v>
                </c:pt>
                <c:pt idx="169">
                  <c:v>3.2938076416330002</c:v>
                </c:pt>
                <c:pt idx="170">
                  <c:v>9.9443118536190003</c:v>
                </c:pt>
                <c:pt idx="171">
                  <c:v>0</c:v>
                </c:pt>
                <c:pt idx="172">
                  <c:v>6.7026374878509998</c:v>
                </c:pt>
                <c:pt idx="173">
                  <c:v>0</c:v>
                </c:pt>
                <c:pt idx="174">
                  <c:v>3.3627009213800001</c:v>
                </c:pt>
                <c:pt idx="175">
                  <c:v>3.381462820816</c:v>
                </c:pt>
                <c:pt idx="176">
                  <c:v>0</c:v>
                </c:pt>
                <c:pt idx="177">
                  <c:v>0</c:v>
                </c:pt>
                <c:pt idx="178">
                  <c:v>6.8837337371789999</c:v>
                </c:pt>
                <c:pt idx="179">
                  <c:v>0</c:v>
                </c:pt>
                <c:pt idx="180">
                  <c:v>3.4684887794380002</c:v>
                </c:pt>
                <c:pt idx="181">
                  <c:v>0</c:v>
                </c:pt>
                <c:pt idx="182">
                  <c:v>0</c:v>
                </c:pt>
                <c:pt idx="183">
                  <c:v>3.5211267605629999</c:v>
                </c:pt>
                <c:pt idx="184">
                  <c:v>3.5445909542030001</c:v>
                </c:pt>
                <c:pt idx="185">
                  <c:v>0</c:v>
                </c:pt>
                <c:pt idx="186">
                  <c:v>3.5933738186780002</c:v>
                </c:pt>
                <c:pt idx="187">
                  <c:v>0</c:v>
                </c:pt>
                <c:pt idx="188">
                  <c:v>0</c:v>
                </c:pt>
                <c:pt idx="189">
                  <c:v>7.2590011614399996</c:v>
                </c:pt>
                <c:pt idx="190">
                  <c:v>3.6521675614469999</c:v>
                </c:pt>
                <c:pt idx="191">
                  <c:v>3.6732295033789999</c:v>
                </c:pt>
                <c:pt idx="192">
                  <c:v>0</c:v>
                </c:pt>
                <c:pt idx="193">
                  <c:v>7.4208749211529996</c:v>
                </c:pt>
                <c:pt idx="194">
                  <c:v>7.4388157405340003</c:v>
                </c:pt>
                <c:pt idx="195">
                  <c:v>0</c:v>
                </c:pt>
                <c:pt idx="196">
                  <c:v>7.4802707858020003</c:v>
                </c:pt>
                <c:pt idx="197">
                  <c:v>7.5182317119009996</c:v>
                </c:pt>
                <c:pt idx="198">
                  <c:v>7.5571509540899999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1.574074074074</c:v>
                </c:pt>
                <c:pt idx="204">
                  <c:v>0</c:v>
                </c:pt>
                <c:pt idx="205">
                  <c:v>0</c:v>
                </c:pt>
                <c:pt idx="206">
                  <c:v>3.9223377132769999</c:v>
                </c:pt>
                <c:pt idx="207">
                  <c:v>0</c:v>
                </c:pt>
                <c:pt idx="208">
                  <c:v>7.9017028169570001</c:v>
                </c:pt>
                <c:pt idx="209">
                  <c:v>3.956791833181000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16.169455897809001</c:v>
                </c:pt>
                <c:pt idx="214">
                  <c:v>8.1337183293340001</c:v>
                </c:pt>
                <c:pt idx="215">
                  <c:v>4.069175991861</c:v>
                </c:pt>
                <c:pt idx="216">
                  <c:v>0</c:v>
                </c:pt>
                <c:pt idx="217">
                  <c:v>4.089979550102</c:v>
                </c:pt>
                <c:pt idx="218">
                  <c:v>12.327416173570001</c:v>
                </c:pt>
                <c:pt idx="219">
                  <c:v>0</c:v>
                </c:pt>
                <c:pt idx="220">
                  <c:v>8.2850041425020002</c:v>
                </c:pt>
                <c:pt idx="221">
                  <c:v>0</c:v>
                </c:pt>
                <c:pt idx="222">
                  <c:v>0</c:v>
                </c:pt>
                <c:pt idx="223">
                  <c:v>4.1604260276250002</c:v>
                </c:pt>
                <c:pt idx="224">
                  <c:v>8.3395880243510003</c:v>
                </c:pt>
                <c:pt idx="225">
                  <c:v>8.3587578885769993</c:v>
                </c:pt>
                <c:pt idx="226">
                  <c:v>8.3748586742590003</c:v>
                </c:pt>
                <c:pt idx="227">
                  <c:v>8.3927822073009999</c:v>
                </c:pt>
                <c:pt idx="228">
                  <c:v>21.028725238676</c:v>
                </c:pt>
                <c:pt idx="229">
                  <c:v>4.2060988433219997</c:v>
                </c:pt>
                <c:pt idx="230">
                  <c:v>0</c:v>
                </c:pt>
                <c:pt idx="231">
                  <c:v>25.289778714436</c:v>
                </c:pt>
                <c:pt idx="232">
                  <c:v>21.102388790410998</c:v>
                </c:pt>
                <c:pt idx="233">
                  <c:v>16.907599966184002</c:v>
                </c:pt>
                <c:pt idx="234">
                  <c:v>12.694651320243</c:v>
                </c:pt>
                <c:pt idx="235">
                  <c:v>12.719409819384</c:v>
                </c:pt>
                <c:pt idx="236">
                  <c:v>12.718331354926001</c:v>
                </c:pt>
                <c:pt idx="237">
                  <c:v>12.716174974567</c:v>
                </c:pt>
                <c:pt idx="238">
                  <c:v>8.4878835462370006</c:v>
                </c:pt>
                <c:pt idx="239">
                  <c:v>17.009695526449999</c:v>
                </c:pt>
                <c:pt idx="240">
                  <c:v>34.059945504086997</c:v>
                </c:pt>
                <c:pt idx="241">
                  <c:v>34.120958798941999</c:v>
                </c:pt>
                <c:pt idx="242">
                  <c:v>25.646505663603001</c:v>
                </c:pt>
                <c:pt idx="243">
                  <c:v>12.832028743744001</c:v>
                </c:pt>
                <c:pt idx="244">
                  <c:v>8.559079043094</c:v>
                </c:pt>
                <c:pt idx="245">
                  <c:v>17.155601303825001</c:v>
                </c:pt>
                <c:pt idx="246">
                  <c:v>34.376074252320002</c:v>
                </c:pt>
                <c:pt idx="247">
                  <c:v>21.528525296017001</c:v>
                </c:pt>
                <c:pt idx="248">
                  <c:v>12.943308309602999</c:v>
                </c:pt>
                <c:pt idx="249">
                  <c:v>12.973533990659</c:v>
                </c:pt>
                <c:pt idx="250">
                  <c:v>12.981955082435</c:v>
                </c:pt>
                <c:pt idx="251">
                  <c:v>8.6587583340539993</c:v>
                </c:pt>
                <c:pt idx="252">
                  <c:v>34.699631316416998</c:v>
                </c:pt>
                <c:pt idx="253">
                  <c:v>26.036016489476999</c:v>
                </c:pt>
                <c:pt idx="254">
                  <c:v>30.445372303408998</c:v>
                </c:pt>
                <c:pt idx="255">
                  <c:v>43.552110099734001</c:v>
                </c:pt>
                <c:pt idx="256">
                  <c:v>34.896401308614998</c:v>
                </c:pt>
                <c:pt idx="257">
                  <c:v>17.459624618069999</c:v>
                </c:pt>
                <c:pt idx="258">
                  <c:v>30.570355489562001</c:v>
                </c:pt>
                <c:pt idx="259">
                  <c:v>87.485236866278001</c:v>
                </c:pt>
                <c:pt idx="260">
                  <c:v>74.479737130339004</c:v>
                </c:pt>
                <c:pt idx="261">
                  <c:v>57.040059672677003</c:v>
                </c:pt>
                <c:pt idx="262">
                  <c:v>109.88045007032299</c:v>
                </c:pt>
                <c:pt idx="263">
                  <c:v>118.93749174045099</c:v>
                </c:pt>
                <c:pt idx="264">
                  <c:v>44.078106404548002</c:v>
                </c:pt>
                <c:pt idx="265">
                  <c:v>26.45969306756</c:v>
                </c:pt>
                <c:pt idx="266">
                  <c:v>101.585619009761</c:v>
                </c:pt>
                <c:pt idx="267">
                  <c:v>119.400344934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248-4A88-BB71-0570AF2D8D6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70</c:f>
              <c:numCache>
                <c:formatCode>m/d/yyyy</c:formatCode>
                <c:ptCount val="26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</c:numCache>
            </c:numRef>
          </c:cat>
          <c:val>
            <c:numRef>
              <c:f>List1!$C$2:$C$270</c:f>
              <c:numCache>
                <c:formatCode>General</c:formatCode>
                <c:ptCount val="26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5.268477574226001</c:v>
                </c:pt>
                <c:pt idx="10">
                  <c:v>10.116337885685001</c:v>
                </c:pt>
                <c:pt idx="11">
                  <c:v>24.222850222041998</c:v>
                </c:pt>
                <c:pt idx="12">
                  <c:v>0</c:v>
                </c:pt>
                <c:pt idx="13">
                  <c:v>0</c:v>
                </c:pt>
                <c:pt idx="14">
                  <c:v>6.6666666666659999</c:v>
                </c:pt>
                <c:pt idx="15">
                  <c:v>0</c:v>
                </c:pt>
                <c:pt idx="16">
                  <c:v>5.0173097185279998</c:v>
                </c:pt>
                <c:pt idx="17">
                  <c:v>17.681120983069999</c:v>
                </c:pt>
                <c:pt idx="18">
                  <c:v>12.080212611741</c:v>
                </c:pt>
                <c:pt idx="19">
                  <c:v>0</c:v>
                </c:pt>
                <c:pt idx="20">
                  <c:v>0</c:v>
                </c:pt>
                <c:pt idx="21">
                  <c:v>18.377623405741002</c:v>
                </c:pt>
                <c:pt idx="22">
                  <c:v>17.371365041863999</c:v>
                </c:pt>
                <c:pt idx="23">
                  <c:v>33.050203258750003</c:v>
                </c:pt>
                <c:pt idx="24">
                  <c:v>12.632243802305</c:v>
                </c:pt>
                <c:pt idx="25">
                  <c:v>30.344409042633</c:v>
                </c:pt>
                <c:pt idx="26">
                  <c:v>12.081672103419001</c:v>
                </c:pt>
                <c:pt idx="27">
                  <c:v>21.112317529255002</c:v>
                </c:pt>
                <c:pt idx="28">
                  <c:v>41.187373128179999</c:v>
                </c:pt>
                <c:pt idx="29">
                  <c:v>17.317516668109</c:v>
                </c:pt>
                <c:pt idx="30">
                  <c:v>22.693747872461</c:v>
                </c:pt>
                <c:pt idx="31">
                  <c:v>19.475280304927001</c:v>
                </c:pt>
                <c:pt idx="32">
                  <c:v>35.604732690622001</c:v>
                </c:pt>
                <c:pt idx="33">
                  <c:v>2.7363524421940002</c:v>
                </c:pt>
                <c:pt idx="34">
                  <c:v>8.2007544694110006</c:v>
                </c:pt>
                <c:pt idx="35">
                  <c:v>18.928639030852999</c:v>
                </c:pt>
                <c:pt idx="36">
                  <c:v>29.366223503657</c:v>
                </c:pt>
                <c:pt idx="37">
                  <c:v>2.6439638305740001</c:v>
                </c:pt>
                <c:pt idx="38">
                  <c:v>18.33420639078</c:v>
                </c:pt>
                <c:pt idx="39">
                  <c:v>23.285296628806002</c:v>
                </c:pt>
                <c:pt idx="40">
                  <c:v>12.931591878960001</c:v>
                </c:pt>
                <c:pt idx="41">
                  <c:v>7.7573500892089999</c:v>
                </c:pt>
                <c:pt idx="42">
                  <c:v>25.720826152935999</c:v>
                </c:pt>
                <c:pt idx="43">
                  <c:v>12.776940178366001</c:v>
                </c:pt>
                <c:pt idx="44">
                  <c:v>12.677163357927</c:v>
                </c:pt>
                <c:pt idx="45">
                  <c:v>10.067705318265</c:v>
                </c:pt>
                <c:pt idx="46">
                  <c:v>17.441136165441002</c:v>
                </c:pt>
                <c:pt idx="47">
                  <c:v>2.4908461404329998</c:v>
                </c:pt>
                <c:pt idx="48">
                  <c:v>4.979955678394</c:v>
                </c:pt>
                <c:pt idx="49">
                  <c:v>17.283950617283001</c:v>
                </c:pt>
                <c:pt idx="50">
                  <c:v>12.249797878335</c:v>
                </c:pt>
                <c:pt idx="51">
                  <c:v>19.421718336529</c:v>
                </c:pt>
                <c:pt idx="52">
                  <c:v>11.974327042820001</c:v>
                </c:pt>
                <c:pt idx="53">
                  <c:v>11.796069549626001</c:v>
                </c:pt>
                <c:pt idx="54">
                  <c:v>7.0659726311320004</c:v>
                </c:pt>
                <c:pt idx="55">
                  <c:v>9.4053469397350007</c:v>
                </c:pt>
                <c:pt idx="56">
                  <c:v>13.945056477477999</c:v>
                </c:pt>
                <c:pt idx="57">
                  <c:v>2.2985863693819999</c:v>
                </c:pt>
                <c:pt idx="58">
                  <c:v>9.0754395916050008</c:v>
                </c:pt>
                <c:pt idx="59">
                  <c:v>4.4700728621870001</c:v>
                </c:pt>
                <c:pt idx="60">
                  <c:v>4.3882745304539998</c:v>
                </c:pt>
                <c:pt idx="61">
                  <c:v>8.7648180204650004</c:v>
                </c:pt>
                <c:pt idx="62">
                  <c:v>2.1897170885519999</c:v>
                </c:pt>
                <c:pt idx="63">
                  <c:v>4.3246048392320002</c:v>
                </c:pt>
                <c:pt idx="64">
                  <c:v>14.955347605007001</c:v>
                </c:pt>
                <c:pt idx="65">
                  <c:v>4.2197653810439997</c:v>
                </c:pt>
                <c:pt idx="66">
                  <c:v>6.234802668495</c:v>
                </c:pt>
                <c:pt idx="67">
                  <c:v>4.0832993058389997</c:v>
                </c:pt>
                <c:pt idx="68">
                  <c:v>6.1089842795470002</c:v>
                </c:pt>
                <c:pt idx="69">
                  <c:v>2.0340913713840001</c:v>
                </c:pt>
                <c:pt idx="70">
                  <c:v>12.047708927352</c:v>
                </c:pt>
                <c:pt idx="71">
                  <c:v>3.9609450814959999</c:v>
                </c:pt>
                <c:pt idx="72">
                  <c:v>7.8085347284579996</c:v>
                </c:pt>
                <c:pt idx="73">
                  <c:v>5.753629581327</c:v>
                </c:pt>
                <c:pt idx="74">
                  <c:v>3.812937296246</c:v>
                </c:pt>
                <c:pt idx="75">
                  <c:v>3.8007639535540001</c:v>
                </c:pt>
                <c:pt idx="76">
                  <c:v>1.89526751701</c:v>
                </c:pt>
                <c:pt idx="77">
                  <c:v>3.7822197847910002</c:v>
                </c:pt>
                <c:pt idx="78">
                  <c:v>9.2907445602689993</c:v>
                </c:pt>
                <c:pt idx="79">
                  <c:v>11.004126547455</c:v>
                </c:pt>
                <c:pt idx="80">
                  <c:v>1.808743465914</c:v>
                </c:pt>
                <c:pt idx="81">
                  <c:v>3.563982393926</c:v>
                </c:pt>
                <c:pt idx="82">
                  <c:v>1.7735842363829999</c:v>
                </c:pt>
                <c:pt idx="83">
                  <c:v>1.769285208775</c:v>
                </c:pt>
                <c:pt idx="84">
                  <c:v>3.507725765999</c:v>
                </c:pt>
                <c:pt idx="85">
                  <c:v>1.7366236562870001</c:v>
                </c:pt>
                <c:pt idx="86">
                  <c:v>0</c:v>
                </c:pt>
                <c:pt idx="87">
                  <c:v>3.4098852573610001</c:v>
                </c:pt>
                <c:pt idx="88">
                  <c:v>6.7484352065859996</c:v>
                </c:pt>
                <c:pt idx="89">
                  <c:v>3.3683643222850002</c:v>
                </c:pt>
                <c:pt idx="90">
                  <c:v>1.681378730559</c:v>
                </c:pt>
                <c:pt idx="91">
                  <c:v>5.0152966547969999</c:v>
                </c:pt>
                <c:pt idx="92">
                  <c:v>9.9838594272590004</c:v>
                </c:pt>
                <c:pt idx="93">
                  <c:v>6.6297609971159996</c:v>
                </c:pt>
                <c:pt idx="94">
                  <c:v>3.299241174529</c:v>
                </c:pt>
                <c:pt idx="95">
                  <c:v>3.2870408414819998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1.632013578352</c:v>
                </c:pt>
                <c:pt idx="100">
                  <c:v>3.2533550223660002</c:v>
                </c:pt>
                <c:pt idx="101">
                  <c:v>3.2433309008350002</c:v>
                </c:pt>
                <c:pt idx="102">
                  <c:v>1.6166319090800001</c:v>
                </c:pt>
                <c:pt idx="103">
                  <c:v>1.6160310277950001</c:v>
                </c:pt>
                <c:pt idx="104">
                  <c:v>0</c:v>
                </c:pt>
                <c:pt idx="105">
                  <c:v>4.8396463831699998</c:v>
                </c:pt>
                <c:pt idx="106">
                  <c:v>1.6113178969069999</c:v>
                </c:pt>
                <c:pt idx="107">
                  <c:v>1.6080272721419999</c:v>
                </c:pt>
                <c:pt idx="108">
                  <c:v>3.2079557302100001</c:v>
                </c:pt>
                <c:pt idx="109">
                  <c:v>1.5999232036860001</c:v>
                </c:pt>
                <c:pt idx="110">
                  <c:v>0</c:v>
                </c:pt>
                <c:pt idx="111">
                  <c:v>0</c:v>
                </c:pt>
                <c:pt idx="112">
                  <c:v>1.5970614070110001</c:v>
                </c:pt>
                <c:pt idx="113">
                  <c:v>3.1903014834899999</c:v>
                </c:pt>
                <c:pt idx="114">
                  <c:v>0</c:v>
                </c:pt>
                <c:pt idx="115">
                  <c:v>0</c:v>
                </c:pt>
                <c:pt idx="116">
                  <c:v>1.584158415841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1.554798886763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1.5309246785049999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1.502268425322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1.471302249621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1.43831084774</c:v>
                </c:pt>
                <c:pt idx="148">
                  <c:v>0</c:v>
                </c:pt>
                <c:pt idx="150">
                  <c:v>0</c:v>
                </c:pt>
                <c:pt idx="151">
                  <c:v>1.4201922940359999</c:v>
                </c:pt>
                <c:pt idx="153">
                  <c:v>0</c:v>
                </c:pt>
                <c:pt idx="154">
                  <c:v>2.8266953105120001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1.389120408957</c:v>
                </c:pt>
                <c:pt idx="162">
                  <c:v>1.384715510198</c:v>
                </c:pt>
                <c:pt idx="163">
                  <c:v>2.7598388254119999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4.1046409807349997</c:v>
                </c:pt>
                <c:pt idx="169">
                  <c:v>0</c:v>
                </c:pt>
                <c:pt idx="170">
                  <c:v>1.363475225655</c:v>
                </c:pt>
                <c:pt idx="171">
                  <c:v>0</c:v>
                </c:pt>
                <c:pt idx="172">
                  <c:v>2.7137778501450001</c:v>
                </c:pt>
                <c:pt idx="173">
                  <c:v>1.3555645926519999</c:v>
                </c:pt>
                <c:pt idx="174">
                  <c:v>0</c:v>
                </c:pt>
                <c:pt idx="175">
                  <c:v>2.7025200999929999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1.3377568493150001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1.329256945367</c:v>
                </c:pt>
                <c:pt idx="184">
                  <c:v>0</c:v>
                </c:pt>
                <c:pt idx="185">
                  <c:v>1.3224014810889999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1.3121465405249999</c:v>
                </c:pt>
                <c:pt idx="191">
                  <c:v>1.3095347223130001</c:v>
                </c:pt>
                <c:pt idx="192">
                  <c:v>1.3072749852929999</c:v>
                </c:pt>
                <c:pt idx="193">
                  <c:v>0</c:v>
                </c:pt>
                <c:pt idx="194">
                  <c:v>1.304035991393</c:v>
                </c:pt>
                <c:pt idx="195">
                  <c:v>1.303305181941</c:v>
                </c:pt>
                <c:pt idx="196">
                  <c:v>1.3016935032470001</c:v>
                </c:pt>
                <c:pt idx="197">
                  <c:v>1.2994944966399999</c:v>
                </c:pt>
                <c:pt idx="198">
                  <c:v>0</c:v>
                </c:pt>
                <c:pt idx="199">
                  <c:v>1.295269675146</c:v>
                </c:pt>
                <c:pt idx="200">
                  <c:v>0</c:v>
                </c:pt>
                <c:pt idx="201">
                  <c:v>0</c:v>
                </c:pt>
                <c:pt idx="202">
                  <c:v>1.291288964644</c:v>
                </c:pt>
                <c:pt idx="203">
                  <c:v>2.5772199528359998</c:v>
                </c:pt>
                <c:pt idx="204">
                  <c:v>2.573340195573</c:v>
                </c:pt>
                <c:pt idx="205">
                  <c:v>0</c:v>
                </c:pt>
                <c:pt idx="206">
                  <c:v>1.2818540737320001</c:v>
                </c:pt>
                <c:pt idx="207">
                  <c:v>1.2794922974559999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2.5488421884350001</c:v>
                </c:pt>
                <c:pt idx="212">
                  <c:v>1.272021878776</c:v>
                </c:pt>
                <c:pt idx="213">
                  <c:v>2.539263359699</c:v>
                </c:pt>
                <c:pt idx="214">
                  <c:v>5.0682952788820002</c:v>
                </c:pt>
                <c:pt idx="215">
                  <c:v>0</c:v>
                </c:pt>
                <c:pt idx="216">
                  <c:v>1.266255555696</c:v>
                </c:pt>
                <c:pt idx="217">
                  <c:v>1.2643663627970001</c:v>
                </c:pt>
                <c:pt idx="218">
                  <c:v>2.524774348292</c:v>
                </c:pt>
                <c:pt idx="219">
                  <c:v>1.260716086737</c:v>
                </c:pt>
                <c:pt idx="220">
                  <c:v>2.517876926175</c:v>
                </c:pt>
                <c:pt idx="221">
                  <c:v>0</c:v>
                </c:pt>
                <c:pt idx="222">
                  <c:v>1.257150040857</c:v>
                </c:pt>
                <c:pt idx="223">
                  <c:v>1.2568182389460001</c:v>
                </c:pt>
                <c:pt idx="224">
                  <c:v>1.25580811252</c:v>
                </c:pt>
                <c:pt idx="225">
                  <c:v>2.5095677269590002</c:v>
                </c:pt>
                <c:pt idx="226">
                  <c:v>1.2539027723789999</c:v>
                </c:pt>
                <c:pt idx="227">
                  <c:v>7.5175723253099997</c:v>
                </c:pt>
                <c:pt idx="228">
                  <c:v>1.2519405077870001</c:v>
                </c:pt>
                <c:pt idx="229">
                  <c:v>1.2517524534340001</c:v>
                </c:pt>
                <c:pt idx="230">
                  <c:v>2.5033482282550001</c:v>
                </c:pt>
                <c:pt idx="231">
                  <c:v>5.0026263788480003</c:v>
                </c:pt>
                <c:pt idx="232">
                  <c:v>2.5000312503900002</c:v>
                </c:pt>
                <c:pt idx="233">
                  <c:v>2.4985945405700001</c:v>
                </c:pt>
                <c:pt idx="234">
                  <c:v>2.4974713102980002</c:v>
                </c:pt>
                <c:pt idx="235">
                  <c:v>4.9913898525039997</c:v>
                </c:pt>
                <c:pt idx="236">
                  <c:v>3.7431687170910002</c:v>
                </c:pt>
                <c:pt idx="237">
                  <c:v>3.7428885118270001</c:v>
                </c:pt>
                <c:pt idx="238">
                  <c:v>3.7410681996730002</c:v>
                </c:pt>
                <c:pt idx="239">
                  <c:v>6.2306848768809999</c:v>
                </c:pt>
                <c:pt idx="240">
                  <c:v>4.9821886754850002</c:v>
                </c:pt>
                <c:pt idx="241">
                  <c:v>9.9579277552339995</c:v>
                </c:pt>
                <c:pt idx="242">
                  <c:v>2.4878406786820002</c:v>
                </c:pt>
                <c:pt idx="243">
                  <c:v>2.4875931292670002</c:v>
                </c:pt>
                <c:pt idx="244">
                  <c:v>7.4624081191</c:v>
                </c:pt>
                <c:pt idx="245">
                  <c:v>7.4584193123329996</c:v>
                </c:pt>
                <c:pt idx="246">
                  <c:v>6.2125692701470001</c:v>
                </c:pt>
                <c:pt idx="247">
                  <c:v>4.9676481911549999</c:v>
                </c:pt>
                <c:pt idx="248">
                  <c:v>6.206554121151</c:v>
                </c:pt>
                <c:pt idx="249">
                  <c:v>6.2030121827149998</c:v>
                </c:pt>
                <c:pt idx="250">
                  <c:v>2.4809894185800001</c:v>
                </c:pt>
                <c:pt idx="251">
                  <c:v>2.480897092388</c:v>
                </c:pt>
                <c:pt idx="252">
                  <c:v>11.159330440172999</c:v>
                </c:pt>
                <c:pt idx="253">
                  <c:v>16.118633139909001</c:v>
                </c:pt>
                <c:pt idx="254">
                  <c:v>18.588051600431001</c:v>
                </c:pt>
                <c:pt idx="255">
                  <c:v>11.149653121902</c:v>
                </c:pt>
                <c:pt idx="256">
                  <c:v>11.145786892554</c:v>
                </c:pt>
                <c:pt idx="257">
                  <c:v>7.4298805027550001</c:v>
                </c:pt>
                <c:pt idx="258">
                  <c:v>3.7147562500769999</c:v>
                </c:pt>
                <c:pt idx="259">
                  <c:v>18.567113927811</c:v>
                </c:pt>
                <c:pt idx="260">
                  <c:v>14.848544842605</c:v>
                </c:pt>
                <c:pt idx="261">
                  <c:v>16.080750105143</c:v>
                </c:pt>
                <c:pt idx="262">
                  <c:v>33.386091601543001</c:v>
                </c:pt>
                <c:pt idx="263">
                  <c:v>19.773836742259999</c:v>
                </c:pt>
                <c:pt idx="264">
                  <c:v>29.658555875483</c:v>
                </c:pt>
                <c:pt idx="265">
                  <c:v>6.1786367455880002</c:v>
                </c:pt>
                <c:pt idx="266">
                  <c:v>48.177292436164997</c:v>
                </c:pt>
                <c:pt idx="267">
                  <c:v>44.460362351953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248-4A88-BB71-0570AF2D8D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2</c:f>
              <c:numCache>
                <c:formatCode>m/d/yyyy</c:formatCode>
                <c:ptCount val="15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70</c:v>
                </c:pt>
                <c:pt idx="5">
                  <c:v>44371</c:v>
                </c:pt>
                <c:pt idx="6">
                  <c:v>44373</c:v>
                </c:pt>
                <c:pt idx="7">
                  <c:v>44374</c:v>
                </c:pt>
                <c:pt idx="8">
                  <c:v>44375</c:v>
                </c:pt>
                <c:pt idx="9">
                  <c:v>44376</c:v>
                </c:pt>
                <c:pt idx="10">
                  <c:v>44378</c:v>
                </c:pt>
                <c:pt idx="11">
                  <c:v>44379</c:v>
                </c:pt>
                <c:pt idx="12">
                  <c:v>44381</c:v>
                </c:pt>
                <c:pt idx="13">
                  <c:v>44382</c:v>
                </c:pt>
                <c:pt idx="14">
                  <c:v>44383</c:v>
                </c:pt>
                <c:pt idx="15">
                  <c:v>44384</c:v>
                </c:pt>
                <c:pt idx="16">
                  <c:v>44385</c:v>
                </c:pt>
                <c:pt idx="17">
                  <c:v>44386</c:v>
                </c:pt>
                <c:pt idx="18">
                  <c:v>44387</c:v>
                </c:pt>
                <c:pt idx="19">
                  <c:v>44389</c:v>
                </c:pt>
                <c:pt idx="20">
                  <c:v>44390</c:v>
                </c:pt>
                <c:pt idx="21">
                  <c:v>44391</c:v>
                </c:pt>
                <c:pt idx="22">
                  <c:v>44392</c:v>
                </c:pt>
                <c:pt idx="23">
                  <c:v>44393</c:v>
                </c:pt>
                <c:pt idx="24">
                  <c:v>44394</c:v>
                </c:pt>
                <c:pt idx="25">
                  <c:v>44395</c:v>
                </c:pt>
                <c:pt idx="26">
                  <c:v>44396</c:v>
                </c:pt>
                <c:pt idx="27">
                  <c:v>44397</c:v>
                </c:pt>
                <c:pt idx="28">
                  <c:v>44398</c:v>
                </c:pt>
                <c:pt idx="29">
                  <c:v>44399</c:v>
                </c:pt>
                <c:pt idx="30">
                  <c:v>44400</c:v>
                </c:pt>
                <c:pt idx="31">
                  <c:v>44401</c:v>
                </c:pt>
                <c:pt idx="32">
                  <c:v>44402</c:v>
                </c:pt>
                <c:pt idx="33">
                  <c:v>44403</c:v>
                </c:pt>
                <c:pt idx="34">
                  <c:v>44404</c:v>
                </c:pt>
                <c:pt idx="35">
                  <c:v>44405</c:v>
                </c:pt>
                <c:pt idx="36">
                  <c:v>44406</c:v>
                </c:pt>
                <c:pt idx="37">
                  <c:v>44407</c:v>
                </c:pt>
                <c:pt idx="38">
                  <c:v>44408</c:v>
                </c:pt>
                <c:pt idx="39">
                  <c:v>44409</c:v>
                </c:pt>
                <c:pt idx="40">
                  <c:v>44410</c:v>
                </c:pt>
                <c:pt idx="41">
                  <c:v>44411</c:v>
                </c:pt>
                <c:pt idx="42">
                  <c:v>44412</c:v>
                </c:pt>
                <c:pt idx="43">
                  <c:v>44413</c:v>
                </c:pt>
                <c:pt idx="44">
                  <c:v>44414</c:v>
                </c:pt>
                <c:pt idx="45">
                  <c:v>44415</c:v>
                </c:pt>
                <c:pt idx="46">
                  <c:v>44416</c:v>
                </c:pt>
                <c:pt idx="47">
                  <c:v>44417</c:v>
                </c:pt>
                <c:pt idx="48">
                  <c:v>44418</c:v>
                </c:pt>
                <c:pt idx="49">
                  <c:v>44419</c:v>
                </c:pt>
                <c:pt idx="50">
                  <c:v>44420</c:v>
                </c:pt>
                <c:pt idx="51">
                  <c:v>44421</c:v>
                </c:pt>
                <c:pt idx="52">
                  <c:v>44422</c:v>
                </c:pt>
                <c:pt idx="53">
                  <c:v>44423</c:v>
                </c:pt>
                <c:pt idx="54">
                  <c:v>44424</c:v>
                </c:pt>
                <c:pt idx="55">
                  <c:v>44425</c:v>
                </c:pt>
                <c:pt idx="56">
                  <c:v>44426</c:v>
                </c:pt>
                <c:pt idx="57">
                  <c:v>44427</c:v>
                </c:pt>
                <c:pt idx="58">
                  <c:v>44428</c:v>
                </c:pt>
                <c:pt idx="59">
                  <c:v>44429</c:v>
                </c:pt>
                <c:pt idx="60">
                  <c:v>44430</c:v>
                </c:pt>
                <c:pt idx="61">
                  <c:v>44431</c:v>
                </c:pt>
                <c:pt idx="62">
                  <c:v>44432</c:v>
                </c:pt>
                <c:pt idx="63">
                  <c:v>44433</c:v>
                </c:pt>
                <c:pt idx="64">
                  <c:v>44434</c:v>
                </c:pt>
                <c:pt idx="65">
                  <c:v>44435</c:v>
                </c:pt>
                <c:pt idx="66">
                  <c:v>44436</c:v>
                </c:pt>
                <c:pt idx="67">
                  <c:v>44437</c:v>
                </c:pt>
                <c:pt idx="68">
                  <c:v>44438</c:v>
                </c:pt>
                <c:pt idx="69">
                  <c:v>44439</c:v>
                </c:pt>
                <c:pt idx="70">
                  <c:v>44440</c:v>
                </c:pt>
                <c:pt idx="71">
                  <c:v>44441</c:v>
                </c:pt>
                <c:pt idx="72">
                  <c:v>44442</c:v>
                </c:pt>
                <c:pt idx="73">
                  <c:v>44443</c:v>
                </c:pt>
                <c:pt idx="74">
                  <c:v>44444</c:v>
                </c:pt>
                <c:pt idx="75">
                  <c:v>44445</c:v>
                </c:pt>
                <c:pt idx="76">
                  <c:v>44446</c:v>
                </c:pt>
                <c:pt idx="77">
                  <c:v>44447</c:v>
                </c:pt>
                <c:pt idx="78">
                  <c:v>44448</c:v>
                </c:pt>
                <c:pt idx="79">
                  <c:v>44449</c:v>
                </c:pt>
                <c:pt idx="80">
                  <c:v>44450</c:v>
                </c:pt>
                <c:pt idx="81">
                  <c:v>44451</c:v>
                </c:pt>
                <c:pt idx="82">
                  <c:v>44452</c:v>
                </c:pt>
                <c:pt idx="83">
                  <c:v>44453</c:v>
                </c:pt>
                <c:pt idx="84">
                  <c:v>44454</c:v>
                </c:pt>
                <c:pt idx="85">
                  <c:v>44455</c:v>
                </c:pt>
                <c:pt idx="86">
                  <c:v>44456</c:v>
                </c:pt>
                <c:pt idx="87">
                  <c:v>44457</c:v>
                </c:pt>
                <c:pt idx="88">
                  <c:v>44458</c:v>
                </c:pt>
                <c:pt idx="89">
                  <c:v>44459</c:v>
                </c:pt>
                <c:pt idx="90">
                  <c:v>44460</c:v>
                </c:pt>
                <c:pt idx="91">
                  <c:v>44461</c:v>
                </c:pt>
                <c:pt idx="92">
                  <c:v>44462</c:v>
                </c:pt>
                <c:pt idx="93">
                  <c:v>44463</c:v>
                </c:pt>
                <c:pt idx="94">
                  <c:v>44464</c:v>
                </c:pt>
                <c:pt idx="95">
                  <c:v>44465</c:v>
                </c:pt>
                <c:pt idx="96">
                  <c:v>44466</c:v>
                </c:pt>
                <c:pt idx="97">
                  <c:v>44467</c:v>
                </c:pt>
                <c:pt idx="98">
                  <c:v>44468</c:v>
                </c:pt>
                <c:pt idx="99">
                  <c:v>44469</c:v>
                </c:pt>
                <c:pt idx="100">
                  <c:v>44470</c:v>
                </c:pt>
                <c:pt idx="101">
                  <c:v>44471</c:v>
                </c:pt>
                <c:pt idx="102">
                  <c:v>44472</c:v>
                </c:pt>
                <c:pt idx="103">
                  <c:v>44473</c:v>
                </c:pt>
                <c:pt idx="104">
                  <c:v>44474</c:v>
                </c:pt>
                <c:pt idx="105">
                  <c:v>44475</c:v>
                </c:pt>
                <c:pt idx="106">
                  <c:v>44476</c:v>
                </c:pt>
                <c:pt idx="107">
                  <c:v>44477</c:v>
                </c:pt>
                <c:pt idx="108">
                  <c:v>44478</c:v>
                </c:pt>
                <c:pt idx="109">
                  <c:v>44479</c:v>
                </c:pt>
                <c:pt idx="110">
                  <c:v>44480</c:v>
                </c:pt>
                <c:pt idx="111">
                  <c:v>44481</c:v>
                </c:pt>
                <c:pt idx="112">
                  <c:v>44482</c:v>
                </c:pt>
                <c:pt idx="113">
                  <c:v>44483</c:v>
                </c:pt>
                <c:pt idx="114">
                  <c:v>44484</c:v>
                </c:pt>
                <c:pt idx="115">
                  <c:v>44485</c:v>
                </c:pt>
                <c:pt idx="116">
                  <c:v>44486</c:v>
                </c:pt>
                <c:pt idx="117">
                  <c:v>44487</c:v>
                </c:pt>
                <c:pt idx="118">
                  <c:v>44488</c:v>
                </c:pt>
                <c:pt idx="119">
                  <c:v>44489</c:v>
                </c:pt>
                <c:pt idx="120">
                  <c:v>44490</c:v>
                </c:pt>
                <c:pt idx="121">
                  <c:v>44491</c:v>
                </c:pt>
                <c:pt idx="122">
                  <c:v>44492</c:v>
                </c:pt>
                <c:pt idx="123">
                  <c:v>44493</c:v>
                </c:pt>
                <c:pt idx="124">
                  <c:v>44494</c:v>
                </c:pt>
                <c:pt idx="125">
                  <c:v>44495</c:v>
                </c:pt>
              </c:numCache>
            </c:numRef>
          </c:cat>
          <c:val>
            <c:numRef>
              <c:f>Sheet1!$B$135:$B$292</c:f>
              <c:numCache>
                <c:formatCode>General</c:formatCode>
                <c:ptCount val="158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2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4</c:v>
                </c:pt>
                <c:pt idx="17">
                  <c:v>4</c:v>
                </c:pt>
                <c:pt idx="18">
                  <c:v>0</c:v>
                </c:pt>
                <c:pt idx="19">
                  <c:v>3</c:v>
                </c:pt>
                <c:pt idx="20">
                  <c:v>0</c:v>
                </c:pt>
                <c:pt idx="21">
                  <c:v>4</c:v>
                </c:pt>
                <c:pt idx="22">
                  <c:v>2</c:v>
                </c:pt>
                <c:pt idx="23">
                  <c:v>5</c:v>
                </c:pt>
                <c:pt idx="24">
                  <c:v>1</c:v>
                </c:pt>
                <c:pt idx="25">
                  <c:v>1</c:v>
                </c:pt>
                <c:pt idx="26">
                  <c:v>3</c:v>
                </c:pt>
                <c:pt idx="27">
                  <c:v>5</c:v>
                </c:pt>
                <c:pt idx="28">
                  <c:v>1</c:v>
                </c:pt>
                <c:pt idx="29">
                  <c:v>3</c:v>
                </c:pt>
                <c:pt idx="30">
                  <c:v>2</c:v>
                </c:pt>
                <c:pt idx="31">
                  <c:v>0</c:v>
                </c:pt>
                <c:pt idx="32">
                  <c:v>1</c:v>
                </c:pt>
                <c:pt idx="33">
                  <c:v>3</c:v>
                </c:pt>
                <c:pt idx="34">
                  <c:v>4</c:v>
                </c:pt>
                <c:pt idx="35">
                  <c:v>1</c:v>
                </c:pt>
                <c:pt idx="36">
                  <c:v>4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4</c:v>
                </c:pt>
                <c:pt idx="42">
                  <c:v>3</c:v>
                </c:pt>
                <c:pt idx="43">
                  <c:v>1</c:v>
                </c:pt>
                <c:pt idx="44">
                  <c:v>3</c:v>
                </c:pt>
                <c:pt idx="45">
                  <c:v>1</c:v>
                </c:pt>
                <c:pt idx="46">
                  <c:v>0</c:v>
                </c:pt>
                <c:pt idx="47">
                  <c:v>7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6</c:v>
                </c:pt>
                <c:pt idx="52">
                  <c:v>2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0</c:v>
                </c:pt>
                <c:pt idx="58">
                  <c:v>3</c:v>
                </c:pt>
                <c:pt idx="59">
                  <c:v>1</c:v>
                </c:pt>
                <c:pt idx="60">
                  <c:v>2</c:v>
                </c:pt>
                <c:pt idx="61">
                  <c:v>1</c:v>
                </c:pt>
                <c:pt idx="62">
                  <c:v>2</c:v>
                </c:pt>
                <c:pt idx="63">
                  <c:v>5</c:v>
                </c:pt>
                <c:pt idx="64">
                  <c:v>2</c:v>
                </c:pt>
                <c:pt idx="65">
                  <c:v>2</c:v>
                </c:pt>
                <c:pt idx="66">
                  <c:v>0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3</c:v>
                </c:pt>
                <c:pt idx="71">
                  <c:v>5</c:v>
                </c:pt>
                <c:pt idx="72">
                  <c:v>6</c:v>
                </c:pt>
                <c:pt idx="73">
                  <c:v>5</c:v>
                </c:pt>
                <c:pt idx="74">
                  <c:v>1</c:v>
                </c:pt>
                <c:pt idx="75">
                  <c:v>5</c:v>
                </c:pt>
                <c:pt idx="76">
                  <c:v>5</c:v>
                </c:pt>
                <c:pt idx="77">
                  <c:v>1</c:v>
                </c:pt>
                <c:pt idx="78">
                  <c:v>3</c:v>
                </c:pt>
                <c:pt idx="79">
                  <c:v>2</c:v>
                </c:pt>
                <c:pt idx="80">
                  <c:v>0</c:v>
                </c:pt>
                <c:pt idx="81">
                  <c:v>3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7</c:v>
                </c:pt>
                <c:pt idx="86">
                  <c:v>4</c:v>
                </c:pt>
                <c:pt idx="87">
                  <c:v>2</c:v>
                </c:pt>
                <c:pt idx="88">
                  <c:v>6</c:v>
                </c:pt>
                <c:pt idx="89">
                  <c:v>8</c:v>
                </c:pt>
                <c:pt idx="90">
                  <c:v>9</c:v>
                </c:pt>
                <c:pt idx="91">
                  <c:v>8</c:v>
                </c:pt>
                <c:pt idx="92">
                  <c:v>7</c:v>
                </c:pt>
                <c:pt idx="93">
                  <c:v>5</c:v>
                </c:pt>
                <c:pt idx="94">
                  <c:v>4</c:v>
                </c:pt>
                <c:pt idx="95">
                  <c:v>2</c:v>
                </c:pt>
                <c:pt idx="96">
                  <c:v>7</c:v>
                </c:pt>
                <c:pt idx="97">
                  <c:v>6</c:v>
                </c:pt>
                <c:pt idx="98">
                  <c:v>9</c:v>
                </c:pt>
                <c:pt idx="99">
                  <c:v>12</c:v>
                </c:pt>
                <c:pt idx="100">
                  <c:v>11</c:v>
                </c:pt>
                <c:pt idx="101">
                  <c:v>4</c:v>
                </c:pt>
                <c:pt idx="102">
                  <c:v>7</c:v>
                </c:pt>
                <c:pt idx="103">
                  <c:v>8</c:v>
                </c:pt>
                <c:pt idx="104">
                  <c:v>13</c:v>
                </c:pt>
                <c:pt idx="105">
                  <c:v>13</c:v>
                </c:pt>
                <c:pt idx="106">
                  <c:v>16</c:v>
                </c:pt>
                <c:pt idx="107">
                  <c:v>11</c:v>
                </c:pt>
                <c:pt idx="108">
                  <c:v>9</c:v>
                </c:pt>
                <c:pt idx="109">
                  <c:v>5</c:v>
                </c:pt>
                <c:pt idx="110">
                  <c:v>19</c:v>
                </c:pt>
                <c:pt idx="111">
                  <c:v>31</c:v>
                </c:pt>
                <c:pt idx="112">
                  <c:v>18</c:v>
                </c:pt>
                <c:pt idx="113">
                  <c:v>19</c:v>
                </c:pt>
                <c:pt idx="114">
                  <c:v>14</c:v>
                </c:pt>
                <c:pt idx="115">
                  <c:v>9</c:v>
                </c:pt>
                <c:pt idx="116">
                  <c:v>12</c:v>
                </c:pt>
                <c:pt idx="117">
                  <c:v>39</c:v>
                </c:pt>
                <c:pt idx="118">
                  <c:v>55</c:v>
                </c:pt>
                <c:pt idx="119">
                  <c:v>50</c:v>
                </c:pt>
                <c:pt idx="120">
                  <c:v>53</c:v>
                </c:pt>
                <c:pt idx="121">
                  <c:v>45</c:v>
                </c:pt>
                <c:pt idx="122">
                  <c:v>28</c:v>
                </c:pt>
                <c:pt idx="123">
                  <c:v>22</c:v>
                </c:pt>
                <c:pt idx="124">
                  <c:v>71</c:v>
                </c:pt>
                <c:pt idx="125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70</c:f>
              <c:numCache>
                <c:formatCode>m/d/yyyy</c:formatCode>
                <c:ptCount val="26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</c:numCache>
            </c:numRef>
          </c:cat>
          <c:val>
            <c:numRef>
              <c:f>List1!$B$2:$B$270</c:f>
              <c:numCache>
                <c:formatCode>General</c:formatCode>
                <c:ptCount val="269"/>
                <c:pt idx="0">
                  <c:v>109.98584340629399</c:v>
                </c:pt>
                <c:pt idx="1">
                  <c:v>142.33628589885299</c:v>
                </c:pt>
                <c:pt idx="2">
                  <c:v>147.47476970824201</c:v>
                </c:pt>
                <c:pt idx="3">
                  <c:v>85.013359242166004</c:v>
                </c:pt>
                <c:pt idx="4">
                  <c:v>111.746678025734</c:v>
                </c:pt>
                <c:pt idx="5">
                  <c:v>49.888582166493997</c:v>
                </c:pt>
                <c:pt idx="6">
                  <c:v>41.106543717363998</c:v>
                </c:pt>
                <c:pt idx="7">
                  <c:v>138.63732921893501</c:v>
                </c:pt>
                <c:pt idx="8">
                  <c:v>163.775187494352</c:v>
                </c:pt>
                <c:pt idx="9">
                  <c:v>146.59565939414699</c:v>
                </c:pt>
                <c:pt idx="10">
                  <c:v>114.013146413821</c:v>
                </c:pt>
                <c:pt idx="11">
                  <c:v>118.59301249970299</c:v>
                </c:pt>
                <c:pt idx="12">
                  <c:v>59.435364041603997</c:v>
                </c:pt>
                <c:pt idx="13">
                  <c:v>25.024726813398001</c:v>
                </c:pt>
                <c:pt idx="14">
                  <c:v>143.20214560502899</c:v>
                </c:pt>
                <c:pt idx="15">
                  <c:v>142.93704555341401</c:v>
                </c:pt>
                <c:pt idx="16">
                  <c:v>158.006065394123</c:v>
                </c:pt>
                <c:pt idx="17">
                  <c:v>157.951074328381</c:v>
                </c:pt>
                <c:pt idx="18">
                  <c:v>139.66108909047301</c:v>
                </c:pt>
                <c:pt idx="19">
                  <c:v>73.308897034321006</c:v>
                </c:pt>
                <c:pt idx="20">
                  <c:v>40.090336892464002</c:v>
                </c:pt>
                <c:pt idx="21">
                  <c:v>158.97819145322299</c:v>
                </c:pt>
                <c:pt idx="22">
                  <c:v>195.72978262967001</c:v>
                </c:pt>
                <c:pt idx="23">
                  <c:v>185.87620365323599</c:v>
                </c:pt>
                <c:pt idx="24">
                  <c:v>193.75733661447899</c:v>
                </c:pt>
                <c:pt idx="25">
                  <c:v>188.838500164518</c:v>
                </c:pt>
                <c:pt idx="26">
                  <c:v>103.132654376692</c:v>
                </c:pt>
                <c:pt idx="27">
                  <c:v>41.556803851885</c:v>
                </c:pt>
                <c:pt idx="28">
                  <c:v>209.477029760184</c:v>
                </c:pt>
                <c:pt idx="29">
                  <c:v>225.41847849798501</c:v>
                </c:pt>
                <c:pt idx="30">
                  <c:v>222.128045127066</c:v>
                </c:pt>
                <c:pt idx="31">
                  <c:v>207.227994885436</c:v>
                </c:pt>
                <c:pt idx="32">
                  <c:v>180.26537427228899</c:v>
                </c:pt>
                <c:pt idx="33">
                  <c:v>90.140678567205995</c:v>
                </c:pt>
                <c:pt idx="34">
                  <c:v>38.419481632531998</c:v>
                </c:pt>
                <c:pt idx="35">
                  <c:v>154.27520322791099</c:v>
                </c:pt>
                <c:pt idx="36">
                  <c:v>193.642565615038</c:v>
                </c:pt>
                <c:pt idx="37">
                  <c:v>176.380024214884</c:v>
                </c:pt>
                <c:pt idx="38">
                  <c:v>145.632525598294</c:v>
                </c:pt>
                <c:pt idx="39">
                  <c:v>182.407477199065</c:v>
                </c:pt>
                <c:pt idx="40">
                  <c:v>88.938466640537001</c:v>
                </c:pt>
                <c:pt idx="41">
                  <c:v>42.211903756859002</c:v>
                </c:pt>
                <c:pt idx="42">
                  <c:v>139.08836646760901</c:v>
                </c:pt>
                <c:pt idx="43">
                  <c:v>174.37452615617801</c:v>
                </c:pt>
                <c:pt idx="44">
                  <c:v>138.45779319578801</c:v>
                </c:pt>
                <c:pt idx="45">
                  <c:v>118.985874241083</c:v>
                </c:pt>
                <c:pt idx="46">
                  <c:v>97.989680461776004</c:v>
                </c:pt>
                <c:pt idx="47">
                  <c:v>38.271359245593999</c:v>
                </c:pt>
                <c:pt idx="48">
                  <c:v>22.962815547356001</c:v>
                </c:pt>
                <c:pt idx="49">
                  <c:v>121.461847142571</c:v>
                </c:pt>
                <c:pt idx="50">
                  <c:v>108.103099470294</c:v>
                </c:pt>
                <c:pt idx="51">
                  <c:v>88.436535149643007</c:v>
                </c:pt>
                <c:pt idx="52">
                  <c:v>95.330374445207994</c:v>
                </c:pt>
                <c:pt idx="53">
                  <c:v>88.211202822757997</c:v>
                </c:pt>
                <c:pt idx="54">
                  <c:v>28.375055173718</c:v>
                </c:pt>
                <c:pt idx="55">
                  <c:v>9.4680532104590007</c:v>
                </c:pt>
                <c:pt idx="56">
                  <c:v>97.158511722731006</c:v>
                </c:pt>
                <c:pt idx="57">
                  <c:v>115.750044210086</c:v>
                </c:pt>
                <c:pt idx="58">
                  <c:v>92.672378753637005</c:v>
                </c:pt>
                <c:pt idx="59">
                  <c:v>50.926534367195998</c:v>
                </c:pt>
                <c:pt idx="60">
                  <c:v>29.985007496251001</c:v>
                </c:pt>
                <c:pt idx="61">
                  <c:v>13.347793442896</c:v>
                </c:pt>
                <c:pt idx="62">
                  <c:v>26.722338204591999</c:v>
                </c:pt>
                <c:pt idx="63">
                  <c:v>15.217097254159</c:v>
                </c:pt>
                <c:pt idx="64">
                  <c:v>78.79140831078</c:v>
                </c:pt>
                <c:pt idx="65">
                  <c:v>65.980240654246003</c:v>
                </c:pt>
                <c:pt idx="66">
                  <c:v>72.156421041515998</c:v>
                </c:pt>
                <c:pt idx="67">
                  <c:v>59.097421203438003</c:v>
                </c:pt>
                <c:pt idx="68">
                  <c:v>23.333034191869</c:v>
                </c:pt>
                <c:pt idx="69">
                  <c:v>7.185972980741</c:v>
                </c:pt>
                <c:pt idx="70">
                  <c:v>47.338139975238001</c:v>
                </c:pt>
                <c:pt idx="71">
                  <c:v>51.651939714807</c:v>
                </c:pt>
                <c:pt idx="72">
                  <c:v>44.939612395843</c:v>
                </c:pt>
                <c:pt idx="73">
                  <c:v>30.501172388813</c:v>
                </c:pt>
                <c:pt idx="74">
                  <c:v>34.515819750718997</c:v>
                </c:pt>
                <c:pt idx="75">
                  <c:v>13.472679330985001</c:v>
                </c:pt>
                <c:pt idx="76">
                  <c:v>7.7173892072310002</c:v>
                </c:pt>
                <c:pt idx="77">
                  <c:v>42.535091450445996</c:v>
                </c:pt>
                <c:pt idx="78">
                  <c:v>43.281526657485003</c:v>
                </c:pt>
                <c:pt idx="79">
                  <c:v>51.770140575843001</c:v>
                </c:pt>
                <c:pt idx="80">
                  <c:v>20.213862667017001</c:v>
                </c:pt>
                <c:pt idx="81">
                  <c:v>28.809548307439002</c:v>
                </c:pt>
                <c:pt idx="82">
                  <c:v>8.2906709225440007</c:v>
                </c:pt>
                <c:pt idx="83">
                  <c:v>4.1580906047940003</c:v>
                </c:pt>
                <c:pt idx="84">
                  <c:v>27.274825336214001</c:v>
                </c:pt>
                <c:pt idx="85">
                  <c:v>33.946491842233002</c:v>
                </c:pt>
                <c:pt idx="86">
                  <c:v>23.611737179898999</c:v>
                </c:pt>
                <c:pt idx="87">
                  <c:v>41.226376201530996</c:v>
                </c:pt>
                <c:pt idx="88">
                  <c:v>35.177205171049003</c:v>
                </c:pt>
                <c:pt idx="89">
                  <c:v>13.219061887241001</c:v>
                </c:pt>
                <c:pt idx="90">
                  <c:v>8.8311917693289992</c:v>
                </c:pt>
                <c:pt idx="91">
                  <c:v>22.219259654268001</c:v>
                </c:pt>
                <c:pt idx="92">
                  <c:v>31.305903398925999</c:v>
                </c:pt>
                <c:pt idx="93">
                  <c:v>26.996625421821999</c:v>
                </c:pt>
                <c:pt idx="94">
                  <c:v>29.415757795175001</c:v>
                </c:pt>
                <c:pt idx="95">
                  <c:v>29.595228338569001</c:v>
                </c:pt>
                <c:pt idx="96">
                  <c:v>9.1240875912400004</c:v>
                </c:pt>
                <c:pt idx="97">
                  <c:v>4.5691309512930003</c:v>
                </c:pt>
                <c:pt idx="98">
                  <c:v>16.040697541189999</c:v>
                </c:pt>
                <c:pt idx="99">
                  <c:v>29.922202274086999</c:v>
                </c:pt>
                <c:pt idx="100">
                  <c:v>13.885031935573</c:v>
                </c:pt>
                <c:pt idx="101">
                  <c:v>23.239060212405001</c:v>
                </c:pt>
                <c:pt idx="102">
                  <c:v>18.658892128279</c:v>
                </c:pt>
                <c:pt idx="103">
                  <c:v>11.669973159061</c:v>
                </c:pt>
                <c:pt idx="104">
                  <c:v>4.6720239207620002</c:v>
                </c:pt>
                <c:pt idx="105">
                  <c:v>9.3641726753439993</c:v>
                </c:pt>
                <c:pt idx="106">
                  <c:v>11.729104600154001</c:v>
                </c:pt>
                <c:pt idx="107">
                  <c:v>4.7025628967779998</c:v>
                </c:pt>
                <c:pt idx="108">
                  <c:v>14.143938143843</c:v>
                </c:pt>
                <c:pt idx="109">
                  <c:v>9.4618568894139994</c:v>
                </c:pt>
                <c:pt idx="110">
                  <c:v>2.366583836232</c:v>
                </c:pt>
                <c:pt idx="111">
                  <c:v>0</c:v>
                </c:pt>
                <c:pt idx="112">
                  <c:v>9.4935206721410008</c:v>
                </c:pt>
                <c:pt idx="113">
                  <c:v>0</c:v>
                </c:pt>
                <c:pt idx="114">
                  <c:v>9.5433506704200006</c:v>
                </c:pt>
                <c:pt idx="115">
                  <c:v>0</c:v>
                </c:pt>
                <c:pt idx="116">
                  <c:v>2.4018253872940001</c:v>
                </c:pt>
                <c:pt idx="117">
                  <c:v>2.4148756339039998</c:v>
                </c:pt>
                <c:pt idx="118">
                  <c:v>0</c:v>
                </c:pt>
                <c:pt idx="119">
                  <c:v>2.426124508709</c:v>
                </c:pt>
                <c:pt idx="120">
                  <c:v>2.4444498765549998</c:v>
                </c:pt>
                <c:pt idx="121">
                  <c:v>2.4596615505699999</c:v>
                </c:pt>
                <c:pt idx="122">
                  <c:v>2.4844720496889998</c:v>
                </c:pt>
                <c:pt idx="123">
                  <c:v>5.008138224614</c:v>
                </c:pt>
                <c:pt idx="124">
                  <c:v>2.5095992170049999</c:v>
                </c:pt>
                <c:pt idx="125">
                  <c:v>0</c:v>
                </c:pt>
                <c:pt idx="126">
                  <c:v>2.531004808909</c:v>
                </c:pt>
                <c:pt idx="127">
                  <c:v>2.5491345688129998</c:v>
                </c:pt>
                <c:pt idx="128">
                  <c:v>5.1349200236200003</c:v>
                </c:pt>
                <c:pt idx="129">
                  <c:v>2.5900025900019998</c:v>
                </c:pt>
                <c:pt idx="131">
                  <c:v>2.6249475010490002</c:v>
                </c:pt>
                <c:pt idx="132">
                  <c:v>0</c:v>
                </c:pt>
                <c:pt idx="133">
                  <c:v>0</c:v>
                </c:pt>
                <c:pt idx="135">
                  <c:v>2.6866553827140001</c:v>
                </c:pt>
                <c:pt idx="136">
                  <c:v>2.7067994802939999</c:v>
                </c:pt>
                <c:pt idx="137">
                  <c:v>0</c:v>
                </c:pt>
                <c:pt idx="138">
                  <c:v>2.741228070175</c:v>
                </c:pt>
                <c:pt idx="139">
                  <c:v>2.746271935847</c:v>
                </c:pt>
                <c:pt idx="142">
                  <c:v>5.5878408582920001</c:v>
                </c:pt>
                <c:pt idx="143">
                  <c:v>5.6260373006269999</c:v>
                </c:pt>
                <c:pt idx="145">
                  <c:v>2.847623658057</c:v>
                </c:pt>
                <c:pt idx="146">
                  <c:v>5.7058085130659997</c:v>
                </c:pt>
                <c:pt idx="147">
                  <c:v>0</c:v>
                </c:pt>
                <c:pt idx="148">
                  <c:v>2.8896723111589999</c:v>
                </c:pt>
                <c:pt idx="150">
                  <c:v>0</c:v>
                </c:pt>
                <c:pt idx="151">
                  <c:v>2.9542097488920001</c:v>
                </c:pt>
                <c:pt idx="153">
                  <c:v>0</c:v>
                </c:pt>
                <c:pt idx="154">
                  <c:v>0</c:v>
                </c:pt>
                <c:pt idx="155">
                  <c:v>3.0081520921689999</c:v>
                </c:pt>
                <c:pt idx="156">
                  <c:v>0</c:v>
                </c:pt>
                <c:pt idx="157">
                  <c:v>3.0533418826899998</c:v>
                </c:pt>
                <c:pt idx="158">
                  <c:v>12.32323854709</c:v>
                </c:pt>
                <c:pt idx="159">
                  <c:v>0</c:v>
                </c:pt>
                <c:pt idx="161">
                  <c:v>3.1165269423750002</c:v>
                </c:pt>
                <c:pt idx="162">
                  <c:v>0</c:v>
                </c:pt>
                <c:pt idx="163">
                  <c:v>6.326111023248</c:v>
                </c:pt>
                <c:pt idx="164">
                  <c:v>3.1897926634760001</c:v>
                </c:pt>
                <c:pt idx="165">
                  <c:v>9.6494049533609996</c:v>
                </c:pt>
                <c:pt idx="166">
                  <c:v>3.2247662044499998</c:v>
                </c:pt>
                <c:pt idx="167">
                  <c:v>3.2298698362449998</c:v>
                </c:pt>
                <c:pt idx="168">
                  <c:v>6.4708166170570003</c:v>
                </c:pt>
                <c:pt idx="169">
                  <c:v>6.4836126689790001</c:v>
                </c:pt>
                <c:pt idx="170">
                  <c:v>3.2651995036889998</c:v>
                </c:pt>
                <c:pt idx="171">
                  <c:v>6.5759189846780002</c:v>
                </c:pt>
                <c:pt idx="172">
                  <c:v>3.3111486374619998</c:v>
                </c:pt>
                <c:pt idx="173">
                  <c:v>0</c:v>
                </c:pt>
                <c:pt idx="174">
                  <c:v>3.3252419113489999</c:v>
                </c:pt>
                <c:pt idx="175">
                  <c:v>6.6903057469720002</c:v>
                </c:pt>
                <c:pt idx="176">
                  <c:v>3.3640584000530001</c:v>
                </c:pt>
                <c:pt idx="177">
                  <c:v>0</c:v>
                </c:pt>
                <c:pt idx="178">
                  <c:v>10.238208995972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3.5161744022499999</c:v>
                </c:pt>
                <c:pt idx="184">
                  <c:v>7.087674533985</c:v>
                </c:pt>
                <c:pt idx="185">
                  <c:v>0</c:v>
                </c:pt>
                <c:pt idx="186">
                  <c:v>7.1994240460760004</c:v>
                </c:pt>
                <c:pt idx="187">
                  <c:v>3.614153023239</c:v>
                </c:pt>
                <c:pt idx="188">
                  <c:v>0</c:v>
                </c:pt>
                <c:pt idx="189">
                  <c:v>18.230875811272998</c:v>
                </c:pt>
                <c:pt idx="190">
                  <c:v>0</c:v>
                </c:pt>
                <c:pt idx="191">
                  <c:v>0</c:v>
                </c:pt>
                <c:pt idx="192">
                  <c:v>7.4468481215319997</c:v>
                </c:pt>
                <c:pt idx="193">
                  <c:v>14.989132878662</c:v>
                </c:pt>
                <c:pt idx="194">
                  <c:v>7.5137125253579997</c:v>
                </c:pt>
                <c:pt idx="195">
                  <c:v>3.7666202116840002</c:v>
                </c:pt>
                <c:pt idx="196">
                  <c:v>0</c:v>
                </c:pt>
                <c:pt idx="197">
                  <c:v>3.8095238095230002</c:v>
                </c:pt>
                <c:pt idx="198">
                  <c:v>3.832739258748</c:v>
                </c:pt>
                <c:pt idx="199">
                  <c:v>0</c:v>
                </c:pt>
                <c:pt idx="200">
                  <c:v>7.7669902912620001</c:v>
                </c:pt>
                <c:pt idx="201">
                  <c:v>0</c:v>
                </c:pt>
                <c:pt idx="202">
                  <c:v>3.9053346871820001</c:v>
                </c:pt>
                <c:pt idx="203">
                  <c:v>0</c:v>
                </c:pt>
                <c:pt idx="204">
                  <c:v>3.961337347488</c:v>
                </c:pt>
                <c:pt idx="205">
                  <c:v>7.9789356099889996</c:v>
                </c:pt>
                <c:pt idx="206">
                  <c:v>8.0237503008900006</c:v>
                </c:pt>
                <c:pt idx="207">
                  <c:v>4.0438351732779996</c:v>
                </c:pt>
                <c:pt idx="208">
                  <c:v>0</c:v>
                </c:pt>
                <c:pt idx="209">
                  <c:v>4.059759662227</c:v>
                </c:pt>
                <c:pt idx="210">
                  <c:v>0</c:v>
                </c:pt>
                <c:pt idx="211">
                  <c:v>4.1082946468920003</c:v>
                </c:pt>
                <c:pt idx="212">
                  <c:v>8.2689047835610001</c:v>
                </c:pt>
                <c:pt idx="213">
                  <c:v>12.47349382562</c:v>
                </c:pt>
                <c:pt idx="214">
                  <c:v>12.576507084765</c:v>
                </c:pt>
                <c:pt idx="215">
                  <c:v>16.812373907194999</c:v>
                </c:pt>
                <c:pt idx="216">
                  <c:v>4.2105263157890001</c:v>
                </c:pt>
                <c:pt idx="217">
                  <c:v>12.718331354926001</c:v>
                </c:pt>
                <c:pt idx="218">
                  <c:v>8.5262395020669999</c:v>
                </c:pt>
                <c:pt idx="219">
                  <c:v>4.286694101508</c:v>
                </c:pt>
                <c:pt idx="220">
                  <c:v>4.3055196762239998</c:v>
                </c:pt>
                <c:pt idx="221">
                  <c:v>4.3305040706730002</c:v>
                </c:pt>
                <c:pt idx="222">
                  <c:v>0</c:v>
                </c:pt>
                <c:pt idx="223">
                  <c:v>4.3432939541340003</c:v>
                </c:pt>
                <c:pt idx="224">
                  <c:v>0</c:v>
                </c:pt>
                <c:pt idx="225">
                  <c:v>0</c:v>
                </c:pt>
                <c:pt idx="226">
                  <c:v>4.3900083410150001</c:v>
                </c:pt>
                <c:pt idx="227">
                  <c:v>17.613386173491001</c:v>
                </c:pt>
                <c:pt idx="228">
                  <c:v>13.25381047051</c:v>
                </c:pt>
                <c:pt idx="229">
                  <c:v>0</c:v>
                </c:pt>
                <c:pt idx="230">
                  <c:v>22.126830995264001</c:v>
                </c:pt>
                <c:pt idx="231">
                  <c:v>17.752529735486998</c:v>
                </c:pt>
                <c:pt idx="232">
                  <c:v>13.343415024684999</c:v>
                </c:pt>
                <c:pt idx="233">
                  <c:v>13.370771493515001</c:v>
                </c:pt>
                <c:pt idx="234">
                  <c:v>13.398240364432001</c:v>
                </c:pt>
                <c:pt idx="235">
                  <c:v>22.39842315101</c:v>
                </c:pt>
                <c:pt idx="236">
                  <c:v>13.449296153501001</c:v>
                </c:pt>
                <c:pt idx="237">
                  <c:v>8.9726334679219999</c:v>
                </c:pt>
                <c:pt idx="238">
                  <c:v>8.9915928606750004</c:v>
                </c:pt>
                <c:pt idx="239">
                  <c:v>18.019641409135001</c:v>
                </c:pt>
                <c:pt idx="240">
                  <c:v>22.575401842152001</c:v>
                </c:pt>
                <c:pt idx="241">
                  <c:v>45.230449138358999</c:v>
                </c:pt>
                <c:pt idx="242">
                  <c:v>49.934177674883003</c:v>
                </c:pt>
                <c:pt idx="243">
                  <c:v>18.176860856129998</c:v>
                </c:pt>
                <c:pt idx="244">
                  <c:v>18.196706396142002</c:v>
                </c:pt>
                <c:pt idx="245">
                  <c:v>18.24567805501</c:v>
                </c:pt>
                <c:pt idx="246">
                  <c:v>36.568085203637999</c:v>
                </c:pt>
                <c:pt idx="247">
                  <c:v>32.054217419177</c:v>
                </c:pt>
                <c:pt idx="248">
                  <c:v>27.535566773749</c:v>
                </c:pt>
                <c:pt idx="249">
                  <c:v>23.021317740227001</c:v>
                </c:pt>
                <c:pt idx="250">
                  <c:v>18.439127829253</c:v>
                </c:pt>
                <c:pt idx="251">
                  <c:v>13.845301827579</c:v>
                </c:pt>
                <c:pt idx="252">
                  <c:v>46.257748172817998</c:v>
                </c:pt>
                <c:pt idx="253">
                  <c:v>83.337191536644994</c:v>
                </c:pt>
                <c:pt idx="254">
                  <c:v>32.484105990997001</c:v>
                </c:pt>
                <c:pt idx="255">
                  <c:v>46.53110604439</c:v>
                </c:pt>
                <c:pt idx="256">
                  <c:v>13.993189980875</c:v>
                </c:pt>
                <c:pt idx="257">
                  <c:v>23.345940141008999</c:v>
                </c:pt>
                <c:pt idx="258">
                  <c:v>23.367761835770999</c:v>
                </c:pt>
                <c:pt idx="259">
                  <c:v>126.49925037481199</c:v>
                </c:pt>
                <c:pt idx="260">
                  <c:v>98.582292742465</c:v>
                </c:pt>
                <c:pt idx="261">
                  <c:v>126.987113159627</c:v>
                </c:pt>
                <c:pt idx="262">
                  <c:v>131.901262483512</c:v>
                </c:pt>
                <c:pt idx="263">
                  <c:v>85.029996693276999</c:v>
                </c:pt>
                <c:pt idx="264">
                  <c:v>75.664428260663001</c:v>
                </c:pt>
                <c:pt idx="265">
                  <c:v>42.597500946611</c:v>
                </c:pt>
                <c:pt idx="266">
                  <c:v>123.316258774426</c:v>
                </c:pt>
                <c:pt idx="267">
                  <c:v>152.10571347086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248-4A88-BB71-0570AF2D8D6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70</c:f>
              <c:numCache>
                <c:formatCode>m/d/yyyy</c:formatCode>
                <c:ptCount val="26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</c:numCache>
            </c:numRef>
          </c:cat>
          <c:val>
            <c:numRef>
              <c:f>List1!$C$2:$C$270</c:f>
              <c:numCache>
                <c:formatCode>General</c:formatCode>
                <c:ptCount val="26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54.481067828929</c:v>
                </c:pt>
                <c:pt idx="9">
                  <c:v>0</c:v>
                </c:pt>
                <c:pt idx="10">
                  <c:v>16.043638697256</c:v>
                </c:pt>
                <c:pt idx="11">
                  <c:v>12.727504136438</c:v>
                </c:pt>
                <c:pt idx="12">
                  <c:v>12.431626056688</c:v>
                </c:pt>
                <c:pt idx="13">
                  <c:v>0</c:v>
                </c:pt>
                <c:pt idx="14">
                  <c:v>10.257462303825999</c:v>
                </c:pt>
                <c:pt idx="15">
                  <c:v>25.673940949935002</c:v>
                </c:pt>
                <c:pt idx="16">
                  <c:v>0</c:v>
                </c:pt>
                <c:pt idx="17">
                  <c:v>25.781501772477998</c:v>
                </c:pt>
                <c:pt idx="18">
                  <c:v>17.721070352649001</c:v>
                </c:pt>
                <c:pt idx="19">
                  <c:v>11.711658956491</c:v>
                </c:pt>
                <c:pt idx="20">
                  <c:v>0</c:v>
                </c:pt>
                <c:pt idx="21">
                  <c:v>5.40891389009</c:v>
                </c:pt>
                <c:pt idx="22">
                  <c:v>35.853308748206999</c:v>
                </c:pt>
                <c:pt idx="23">
                  <c:v>4.8754326946509998</c:v>
                </c:pt>
                <c:pt idx="24">
                  <c:v>18.737995971330001</c:v>
                </c:pt>
                <c:pt idx="25">
                  <c:v>40.644899065167003</c:v>
                </c:pt>
                <c:pt idx="26">
                  <c:v>13.500135001349999</c:v>
                </c:pt>
                <c:pt idx="27">
                  <c:v>4.496200710399</c:v>
                </c:pt>
                <c:pt idx="28">
                  <c:v>8.7676997939590002</c:v>
                </c:pt>
                <c:pt idx="29">
                  <c:v>25.776517592472999</c:v>
                </c:pt>
                <c:pt idx="30">
                  <c:v>33.876773237348999</c:v>
                </c:pt>
                <c:pt idx="31">
                  <c:v>8.3267413297800008</c:v>
                </c:pt>
                <c:pt idx="32">
                  <c:v>8.1977292290030004</c:v>
                </c:pt>
                <c:pt idx="33">
                  <c:v>24.571030754740001</c:v>
                </c:pt>
                <c:pt idx="34">
                  <c:v>4.0928252772880001</c:v>
                </c:pt>
                <c:pt idx="35">
                  <c:v>16.187123143539001</c:v>
                </c:pt>
                <c:pt idx="36">
                  <c:v>7.9987202047670003</c:v>
                </c:pt>
                <c:pt idx="37">
                  <c:v>11.879776660198001</c:v>
                </c:pt>
                <c:pt idx="38">
                  <c:v>23.470505398216002</c:v>
                </c:pt>
                <c:pt idx="39">
                  <c:v>23.209933851688</c:v>
                </c:pt>
                <c:pt idx="40">
                  <c:v>3.8663779771110001</c:v>
                </c:pt>
                <c:pt idx="41">
                  <c:v>7.7264825188330004</c:v>
                </c:pt>
                <c:pt idx="42">
                  <c:v>30.665440049063999</c:v>
                </c:pt>
                <c:pt idx="43">
                  <c:v>7.6048518955090003</c:v>
                </c:pt>
                <c:pt idx="44">
                  <c:v>0</c:v>
                </c:pt>
                <c:pt idx="45">
                  <c:v>22.450048641772</c:v>
                </c:pt>
                <c:pt idx="46">
                  <c:v>22.236222806952</c:v>
                </c:pt>
                <c:pt idx="47">
                  <c:v>3.7052132350210001</c:v>
                </c:pt>
                <c:pt idx="48">
                  <c:v>3.7030179596370001</c:v>
                </c:pt>
                <c:pt idx="49">
                  <c:v>14.65040471743</c:v>
                </c:pt>
                <c:pt idx="50">
                  <c:v>25.356806491341999</c:v>
                </c:pt>
                <c:pt idx="51">
                  <c:v>21.488432060739999</c:v>
                </c:pt>
                <c:pt idx="52">
                  <c:v>14.083019399358999</c:v>
                </c:pt>
                <c:pt idx="53">
                  <c:v>0</c:v>
                </c:pt>
                <c:pt idx="54">
                  <c:v>3.4499413509969998</c:v>
                </c:pt>
                <c:pt idx="55">
                  <c:v>0</c:v>
                </c:pt>
                <c:pt idx="56">
                  <c:v>13.481631277384</c:v>
                </c:pt>
                <c:pt idx="57">
                  <c:v>16.519641854164</c:v>
                </c:pt>
                <c:pt idx="58">
                  <c:v>16.139965783272</c:v>
                </c:pt>
                <c:pt idx="59">
                  <c:v>6.3199140491680001</c:v>
                </c:pt>
                <c:pt idx="60">
                  <c:v>3.0749361950730001</c:v>
                </c:pt>
                <c:pt idx="61">
                  <c:v>9.1886428374520008</c:v>
                </c:pt>
                <c:pt idx="62">
                  <c:v>0</c:v>
                </c:pt>
                <c:pt idx="63">
                  <c:v>0</c:v>
                </c:pt>
                <c:pt idx="64">
                  <c:v>2.9153668989239998</c:v>
                </c:pt>
                <c:pt idx="65">
                  <c:v>11.388548814167001</c:v>
                </c:pt>
                <c:pt idx="66">
                  <c:v>5.5668438778629996</c:v>
                </c:pt>
                <c:pt idx="67">
                  <c:v>2.7070193010470001</c:v>
                </c:pt>
                <c:pt idx="68">
                  <c:v>5.3909808889719999</c:v>
                </c:pt>
                <c:pt idx="69">
                  <c:v>0</c:v>
                </c:pt>
                <c:pt idx="70">
                  <c:v>2.6346295710819998</c:v>
                </c:pt>
                <c:pt idx="71">
                  <c:v>5.1674245556010003</c:v>
                </c:pt>
                <c:pt idx="72">
                  <c:v>2.5290205103560002</c:v>
                </c:pt>
                <c:pt idx="73">
                  <c:v>7.4033858151120002</c:v>
                </c:pt>
                <c:pt idx="74">
                  <c:v>4.89464281344</c:v>
                </c:pt>
                <c:pt idx="75">
                  <c:v>4.8677197166979997</c:v>
                </c:pt>
                <c:pt idx="76">
                  <c:v>2.4244775250930002</c:v>
                </c:pt>
                <c:pt idx="77">
                  <c:v>7.2484778196570003</c:v>
                </c:pt>
                <c:pt idx="78">
                  <c:v>4.7266797438130004</c:v>
                </c:pt>
                <c:pt idx="79">
                  <c:v>4.6561437817189999</c:v>
                </c:pt>
                <c:pt idx="80">
                  <c:v>4.5726827929939997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8.7571425443869995</c:v>
                </c:pt>
                <c:pt idx="85">
                  <c:v>8.6505190311410001</c:v>
                </c:pt>
                <c:pt idx="86">
                  <c:v>4.271770007902</c:v>
                </c:pt>
                <c:pt idx="87">
                  <c:v>6.3355296502779996</c:v>
                </c:pt>
                <c:pt idx="88">
                  <c:v>2.083854296907</c:v>
                </c:pt>
                <c:pt idx="89">
                  <c:v>0</c:v>
                </c:pt>
                <c:pt idx="90">
                  <c:v>0</c:v>
                </c:pt>
                <c:pt idx="91">
                  <c:v>6.188501763723</c:v>
                </c:pt>
                <c:pt idx="92">
                  <c:v>6.1530888506029999</c:v>
                </c:pt>
                <c:pt idx="93">
                  <c:v>0</c:v>
                </c:pt>
                <c:pt idx="94">
                  <c:v>2.02971502801</c:v>
                </c:pt>
                <c:pt idx="95">
                  <c:v>2.0190191604910002</c:v>
                </c:pt>
                <c:pt idx="96">
                  <c:v>0</c:v>
                </c:pt>
                <c:pt idx="97">
                  <c:v>0</c:v>
                </c:pt>
                <c:pt idx="98">
                  <c:v>4.0164675168180004</c:v>
                </c:pt>
                <c:pt idx="99">
                  <c:v>4.0015205778189999</c:v>
                </c:pt>
                <c:pt idx="100">
                  <c:v>7.9668578712549998</c:v>
                </c:pt>
                <c:pt idx="101">
                  <c:v>1.9848358540740001</c:v>
                </c:pt>
                <c:pt idx="102">
                  <c:v>1.9789831984320001</c:v>
                </c:pt>
                <c:pt idx="103">
                  <c:v>0</c:v>
                </c:pt>
                <c:pt idx="104">
                  <c:v>1.976948777257</c:v>
                </c:pt>
                <c:pt idx="105">
                  <c:v>7.8945290913389998</c:v>
                </c:pt>
                <c:pt idx="106">
                  <c:v>3.9410420115070002</c:v>
                </c:pt>
                <c:pt idx="107">
                  <c:v>1.966955153422</c:v>
                </c:pt>
                <c:pt idx="108">
                  <c:v>3.9260335283260002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1.9530868537720001</c:v>
                </c:pt>
                <c:pt idx="113">
                  <c:v>0</c:v>
                </c:pt>
                <c:pt idx="114">
                  <c:v>1.9452603731</c:v>
                </c:pt>
                <c:pt idx="115">
                  <c:v>1.939563210365</c:v>
                </c:pt>
                <c:pt idx="116">
                  <c:v>1.935284099705</c:v>
                </c:pt>
                <c:pt idx="117">
                  <c:v>1.9271535941410001</c:v>
                </c:pt>
                <c:pt idx="118">
                  <c:v>0</c:v>
                </c:pt>
                <c:pt idx="119">
                  <c:v>1.920565414458</c:v>
                </c:pt>
                <c:pt idx="120">
                  <c:v>0</c:v>
                </c:pt>
                <c:pt idx="121">
                  <c:v>0</c:v>
                </c:pt>
                <c:pt idx="122">
                  <c:v>1.885760621546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1.860153648691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1.7761042928440001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1.684125433662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1.659227795384</c:v>
                </c:pt>
                <c:pt idx="157">
                  <c:v>4.9572028156909997</c:v>
                </c:pt>
                <c:pt idx="158">
                  <c:v>0</c:v>
                </c:pt>
                <c:pt idx="159">
                  <c:v>0</c:v>
                </c:pt>
                <c:pt idx="161">
                  <c:v>3.26743996079</c:v>
                </c:pt>
                <c:pt idx="162">
                  <c:v>0</c:v>
                </c:pt>
                <c:pt idx="163">
                  <c:v>3.241753788799</c:v>
                </c:pt>
                <c:pt idx="164">
                  <c:v>1.6137621637320001</c:v>
                </c:pt>
                <c:pt idx="165">
                  <c:v>3.213677411061</c:v>
                </c:pt>
                <c:pt idx="166">
                  <c:v>0</c:v>
                </c:pt>
                <c:pt idx="167">
                  <c:v>0</c:v>
                </c:pt>
                <c:pt idx="168">
                  <c:v>1.601640079441</c:v>
                </c:pt>
                <c:pt idx="169">
                  <c:v>4.7996928196589996</c:v>
                </c:pt>
                <c:pt idx="170">
                  <c:v>0</c:v>
                </c:pt>
                <c:pt idx="171">
                  <c:v>1.5885371161690001</c:v>
                </c:pt>
                <c:pt idx="172">
                  <c:v>1.5830048598240001</c:v>
                </c:pt>
                <c:pt idx="173">
                  <c:v>0</c:v>
                </c:pt>
                <c:pt idx="174">
                  <c:v>0</c:v>
                </c:pt>
                <c:pt idx="175">
                  <c:v>1.5748527512670001</c:v>
                </c:pt>
                <c:pt idx="176">
                  <c:v>4.7115731942889996</c:v>
                </c:pt>
                <c:pt idx="177">
                  <c:v>1.564847270906</c:v>
                </c:pt>
                <c:pt idx="178">
                  <c:v>1.559794731013</c:v>
                </c:pt>
                <c:pt idx="179">
                  <c:v>1.5542430836179999</c:v>
                </c:pt>
                <c:pt idx="180">
                  <c:v>1.5525780558610001</c:v>
                </c:pt>
                <c:pt idx="181">
                  <c:v>1.550435672423</c:v>
                </c:pt>
                <c:pt idx="182">
                  <c:v>3.0904736150810002</c:v>
                </c:pt>
                <c:pt idx="183">
                  <c:v>4.6196489066830004</c:v>
                </c:pt>
                <c:pt idx="184">
                  <c:v>1.5349900993129999</c:v>
                </c:pt>
                <c:pt idx="185">
                  <c:v>1.5302921327679999</c:v>
                </c:pt>
                <c:pt idx="186">
                  <c:v>1.5254599261670001</c:v>
                </c:pt>
                <c:pt idx="187">
                  <c:v>0</c:v>
                </c:pt>
                <c:pt idx="188">
                  <c:v>0</c:v>
                </c:pt>
                <c:pt idx="189">
                  <c:v>3.0366523943999999</c:v>
                </c:pt>
                <c:pt idx="190">
                  <c:v>1.514256727085</c:v>
                </c:pt>
                <c:pt idx="191">
                  <c:v>1.509980974239</c:v>
                </c:pt>
                <c:pt idx="192">
                  <c:v>0</c:v>
                </c:pt>
                <c:pt idx="193">
                  <c:v>3.005710850616</c:v>
                </c:pt>
                <c:pt idx="194">
                  <c:v>0</c:v>
                </c:pt>
                <c:pt idx="195">
                  <c:v>0</c:v>
                </c:pt>
                <c:pt idx="196">
                  <c:v>1.4973870595809999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.4843842774010001</c:v>
                </c:pt>
                <c:pt idx="201">
                  <c:v>1.482887478498</c:v>
                </c:pt>
                <c:pt idx="202">
                  <c:v>1.4818986084970001</c:v>
                </c:pt>
                <c:pt idx="203">
                  <c:v>1.477978125923</c:v>
                </c:pt>
                <c:pt idx="204">
                  <c:v>1.4746652509880001</c:v>
                </c:pt>
                <c:pt idx="205">
                  <c:v>4.4133872747330001</c:v>
                </c:pt>
                <c:pt idx="206">
                  <c:v>0</c:v>
                </c:pt>
                <c:pt idx="207">
                  <c:v>1.4645362545939999</c:v>
                </c:pt>
                <c:pt idx="208">
                  <c:v>0</c:v>
                </c:pt>
                <c:pt idx="209">
                  <c:v>0</c:v>
                </c:pt>
                <c:pt idx="210">
                  <c:v>1.4598966393170001</c:v>
                </c:pt>
                <c:pt idx="211">
                  <c:v>0</c:v>
                </c:pt>
                <c:pt idx="212">
                  <c:v>1.454439677114</c:v>
                </c:pt>
                <c:pt idx="213">
                  <c:v>2.903389707483</c:v>
                </c:pt>
                <c:pt idx="214">
                  <c:v>4.3430424460010002</c:v>
                </c:pt>
                <c:pt idx="215">
                  <c:v>1.446508129375</c:v>
                </c:pt>
                <c:pt idx="216">
                  <c:v>0</c:v>
                </c:pt>
                <c:pt idx="217">
                  <c:v>2.885003750504</c:v>
                </c:pt>
                <c:pt idx="218">
                  <c:v>4.3197166265889999</c:v>
                </c:pt>
                <c:pt idx="219">
                  <c:v>0</c:v>
                </c:pt>
                <c:pt idx="220">
                  <c:v>2.870758454383</c:v>
                </c:pt>
                <c:pt idx="221">
                  <c:v>1.4327468622840001</c:v>
                </c:pt>
                <c:pt idx="222">
                  <c:v>0</c:v>
                </c:pt>
                <c:pt idx="223">
                  <c:v>2.863196472541</c:v>
                </c:pt>
                <c:pt idx="224">
                  <c:v>2.8602073650330002</c:v>
                </c:pt>
                <c:pt idx="225">
                  <c:v>4.2847349177330001</c:v>
                </c:pt>
                <c:pt idx="226">
                  <c:v>5.7078440046230003</c:v>
                </c:pt>
                <c:pt idx="227">
                  <c:v>4.277038008611</c:v>
                </c:pt>
                <c:pt idx="228">
                  <c:v>1.424278246998</c:v>
                </c:pt>
                <c:pt idx="229">
                  <c:v>2.8479074999640002</c:v>
                </c:pt>
                <c:pt idx="230">
                  <c:v>1.423751014422</c:v>
                </c:pt>
                <c:pt idx="231">
                  <c:v>5.6902241948330001</c:v>
                </c:pt>
                <c:pt idx="232">
                  <c:v>8.5301184264769994</c:v>
                </c:pt>
                <c:pt idx="233">
                  <c:v>7.1043919350940001</c:v>
                </c:pt>
                <c:pt idx="234">
                  <c:v>5.6802851503139999</c:v>
                </c:pt>
                <c:pt idx="235">
                  <c:v>0</c:v>
                </c:pt>
                <c:pt idx="236">
                  <c:v>1.418600692277</c:v>
                </c:pt>
                <c:pt idx="237">
                  <c:v>0</c:v>
                </c:pt>
                <c:pt idx="238">
                  <c:v>7.0878754802030004</c:v>
                </c:pt>
                <c:pt idx="239">
                  <c:v>2.83358363322</c:v>
                </c:pt>
                <c:pt idx="240">
                  <c:v>5.6636366210739997</c:v>
                </c:pt>
                <c:pt idx="241">
                  <c:v>2.8304957613320001</c:v>
                </c:pt>
                <c:pt idx="242">
                  <c:v>0</c:v>
                </c:pt>
                <c:pt idx="243">
                  <c:v>0</c:v>
                </c:pt>
                <c:pt idx="244">
                  <c:v>4.241541659008</c:v>
                </c:pt>
                <c:pt idx="245">
                  <c:v>5.652032612228</c:v>
                </c:pt>
                <c:pt idx="246">
                  <c:v>7.062146892655</c:v>
                </c:pt>
                <c:pt idx="247">
                  <c:v>8.4719437462930003</c:v>
                </c:pt>
                <c:pt idx="248">
                  <c:v>14.113728423636999</c:v>
                </c:pt>
                <c:pt idx="249">
                  <c:v>8.461787975799</c:v>
                </c:pt>
                <c:pt idx="250">
                  <c:v>7.0505950702230002</c:v>
                </c:pt>
                <c:pt idx="251">
                  <c:v>2.8199199142740001</c:v>
                </c:pt>
                <c:pt idx="252">
                  <c:v>12.68373803853</c:v>
                </c:pt>
                <c:pt idx="253">
                  <c:v>18.320438563113001</c:v>
                </c:pt>
                <c:pt idx="254">
                  <c:v>15.494703628577</c:v>
                </c:pt>
                <c:pt idx="255">
                  <c:v>12.670167386989</c:v>
                </c:pt>
                <c:pt idx="256">
                  <c:v>15.478133618506</c:v>
                </c:pt>
                <c:pt idx="257">
                  <c:v>5.628016264967</c:v>
                </c:pt>
                <c:pt idx="258">
                  <c:v>9.8486127525459999</c:v>
                </c:pt>
                <c:pt idx="259">
                  <c:v>16.874789065136</c:v>
                </c:pt>
                <c:pt idx="260">
                  <c:v>47.795099596553001</c:v>
                </c:pt>
                <c:pt idx="261">
                  <c:v>32.321528948847003</c:v>
                </c:pt>
                <c:pt idx="262">
                  <c:v>35.123705691444997</c:v>
                </c:pt>
                <c:pt idx="263">
                  <c:v>37.911231553377</c:v>
                </c:pt>
                <c:pt idx="264">
                  <c:v>16.848016848016002</c:v>
                </c:pt>
                <c:pt idx="265">
                  <c:v>18.251761997022999</c:v>
                </c:pt>
                <c:pt idx="266">
                  <c:v>63.155235569028001</c:v>
                </c:pt>
                <c:pt idx="267">
                  <c:v>50.503633455851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248-4A88-BB71-0570AF2D8D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292</c:f>
              <c:numCache>
                <c:formatCode>m/d/yyyy</c:formatCode>
                <c:ptCount val="158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70</c:v>
                </c:pt>
                <c:pt idx="5">
                  <c:v>44371</c:v>
                </c:pt>
                <c:pt idx="6">
                  <c:v>44373</c:v>
                </c:pt>
                <c:pt idx="7">
                  <c:v>44374</c:v>
                </c:pt>
                <c:pt idx="8">
                  <c:v>44375</c:v>
                </c:pt>
                <c:pt idx="9">
                  <c:v>44376</c:v>
                </c:pt>
                <c:pt idx="10">
                  <c:v>44378</c:v>
                </c:pt>
                <c:pt idx="11">
                  <c:v>44379</c:v>
                </c:pt>
                <c:pt idx="12">
                  <c:v>44381</c:v>
                </c:pt>
                <c:pt idx="13">
                  <c:v>44382</c:v>
                </c:pt>
                <c:pt idx="14">
                  <c:v>44383</c:v>
                </c:pt>
                <c:pt idx="15">
                  <c:v>44384</c:v>
                </c:pt>
                <c:pt idx="16">
                  <c:v>44385</c:v>
                </c:pt>
                <c:pt idx="17">
                  <c:v>44386</c:v>
                </c:pt>
                <c:pt idx="18">
                  <c:v>44387</c:v>
                </c:pt>
                <c:pt idx="19">
                  <c:v>44389</c:v>
                </c:pt>
                <c:pt idx="20">
                  <c:v>44390</c:v>
                </c:pt>
                <c:pt idx="21">
                  <c:v>44391</c:v>
                </c:pt>
                <c:pt idx="22">
                  <c:v>44392</c:v>
                </c:pt>
                <c:pt idx="23">
                  <c:v>44393</c:v>
                </c:pt>
                <c:pt idx="24">
                  <c:v>44394</c:v>
                </c:pt>
                <c:pt idx="25">
                  <c:v>44395</c:v>
                </c:pt>
                <c:pt idx="26">
                  <c:v>44396</c:v>
                </c:pt>
                <c:pt idx="27">
                  <c:v>44397</c:v>
                </c:pt>
                <c:pt idx="28">
                  <c:v>44398</c:v>
                </c:pt>
                <c:pt idx="29">
                  <c:v>44399</c:v>
                </c:pt>
                <c:pt idx="30">
                  <c:v>44400</c:v>
                </c:pt>
                <c:pt idx="31">
                  <c:v>44401</c:v>
                </c:pt>
                <c:pt idx="32">
                  <c:v>44402</c:v>
                </c:pt>
                <c:pt idx="33">
                  <c:v>44403</c:v>
                </c:pt>
                <c:pt idx="34">
                  <c:v>44404</c:v>
                </c:pt>
                <c:pt idx="35">
                  <c:v>44405</c:v>
                </c:pt>
                <c:pt idx="36">
                  <c:v>44406</c:v>
                </c:pt>
                <c:pt idx="37">
                  <c:v>44407</c:v>
                </c:pt>
                <c:pt idx="38">
                  <c:v>44408</c:v>
                </c:pt>
                <c:pt idx="39">
                  <c:v>44409</c:v>
                </c:pt>
                <c:pt idx="40">
                  <c:v>44410</c:v>
                </c:pt>
                <c:pt idx="41">
                  <c:v>44411</c:v>
                </c:pt>
                <c:pt idx="42">
                  <c:v>44412</c:v>
                </c:pt>
                <c:pt idx="43">
                  <c:v>44413</c:v>
                </c:pt>
                <c:pt idx="44">
                  <c:v>44414</c:v>
                </c:pt>
                <c:pt idx="45">
                  <c:v>44415</c:v>
                </c:pt>
                <c:pt idx="46">
                  <c:v>44416</c:v>
                </c:pt>
                <c:pt idx="47">
                  <c:v>44417</c:v>
                </c:pt>
                <c:pt idx="48">
                  <c:v>44418</c:v>
                </c:pt>
                <c:pt idx="49">
                  <c:v>44419</c:v>
                </c:pt>
                <c:pt idx="50">
                  <c:v>44420</c:v>
                </c:pt>
                <c:pt idx="51">
                  <c:v>44421</c:v>
                </c:pt>
                <c:pt idx="52">
                  <c:v>44422</c:v>
                </c:pt>
                <c:pt idx="53">
                  <c:v>44423</c:v>
                </c:pt>
                <c:pt idx="54">
                  <c:v>44424</c:v>
                </c:pt>
                <c:pt idx="55">
                  <c:v>44425</c:v>
                </c:pt>
                <c:pt idx="56">
                  <c:v>44426</c:v>
                </c:pt>
                <c:pt idx="57">
                  <c:v>44427</c:v>
                </c:pt>
                <c:pt idx="58">
                  <c:v>44428</c:v>
                </c:pt>
                <c:pt idx="59">
                  <c:v>44429</c:v>
                </c:pt>
                <c:pt idx="60">
                  <c:v>44430</c:v>
                </c:pt>
                <c:pt idx="61">
                  <c:v>44431</c:v>
                </c:pt>
                <c:pt idx="62">
                  <c:v>44432</c:v>
                </c:pt>
                <c:pt idx="63">
                  <c:v>44433</c:v>
                </c:pt>
                <c:pt idx="64">
                  <c:v>44434</c:v>
                </c:pt>
                <c:pt idx="65">
                  <c:v>44435</c:v>
                </c:pt>
                <c:pt idx="66">
                  <c:v>44436</c:v>
                </c:pt>
                <c:pt idx="67">
                  <c:v>44437</c:v>
                </c:pt>
                <c:pt idx="68">
                  <c:v>44438</c:v>
                </c:pt>
                <c:pt idx="69">
                  <c:v>44439</c:v>
                </c:pt>
                <c:pt idx="70">
                  <c:v>44440</c:v>
                </c:pt>
                <c:pt idx="71">
                  <c:v>44441</c:v>
                </c:pt>
                <c:pt idx="72">
                  <c:v>44442</c:v>
                </c:pt>
                <c:pt idx="73">
                  <c:v>44443</c:v>
                </c:pt>
                <c:pt idx="74">
                  <c:v>44444</c:v>
                </c:pt>
                <c:pt idx="75">
                  <c:v>44445</c:v>
                </c:pt>
                <c:pt idx="76">
                  <c:v>44446</c:v>
                </c:pt>
                <c:pt idx="77">
                  <c:v>44447</c:v>
                </c:pt>
                <c:pt idx="78">
                  <c:v>44448</c:v>
                </c:pt>
                <c:pt idx="79">
                  <c:v>44449</c:v>
                </c:pt>
                <c:pt idx="80">
                  <c:v>44450</c:v>
                </c:pt>
                <c:pt idx="81">
                  <c:v>44451</c:v>
                </c:pt>
                <c:pt idx="82">
                  <c:v>44452</c:v>
                </c:pt>
                <c:pt idx="83">
                  <c:v>44453</c:v>
                </c:pt>
                <c:pt idx="84">
                  <c:v>44454</c:v>
                </c:pt>
                <c:pt idx="85">
                  <c:v>44455</c:v>
                </c:pt>
                <c:pt idx="86">
                  <c:v>44456</c:v>
                </c:pt>
                <c:pt idx="87">
                  <c:v>44457</c:v>
                </c:pt>
                <c:pt idx="88">
                  <c:v>44458</c:v>
                </c:pt>
                <c:pt idx="89">
                  <c:v>44459</c:v>
                </c:pt>
                <c:pt idx="90">
                  <c:v>44460</c:v>
                </c:pt>
                <c:pt idx="91">
                  <c:v>44461</c:v>
                </c:pt>
                <c:pt idx="92">
                  <c:v>44462</c:v>
                </c:pt>
                <c:pt idx="93">
                  <c:v>44463</c:v>
                </c:pt>
                <c:pt idx="94">
                  <c:v>44464</c:v>
                </c:pt>
                <c:pt idx="95">
                  <c:v>44465</c:v>
                </c:pt>
                <c:pt idx="96">
                  <c:v>44466</c:v>
                </c:pt>
                <c:pt idx="97">
                  <c:v>44467</c:v>
                </c:pt>
                <c:pt idx="98">
                  <c:v>44468</c:v>
                </c:pt>
                <c:pt idx="99">
                  <c:v>44469</c:v>
                </c:pt>
                <c:pt idx="100">
                  <c:v>44470</c:v>
                </c:pt>
                <c:pt idx="101">
                  <c:v>44471</c:v>
                </c:pt>
                <c:pt idx="102">
                  <c:v>44472</c:v>
                </c:pt>
                <c:pt idx="103">
                  <c:v>44473</c:v>
                </c:pt>
                <c:pt idx="104">
                  <c:v>44474</c:v>
                </c:pt>
                <c:pt idx="105">
                  <c:v>44475</c:v>
                </c:pt>
                <c:pt idx="106">
                  <c:v>44476</c:v>
                </c:pt>
                <c:pt idx="107">
                  <c:v>44477</c:v>
                </c:pt>
                <c:pt idx="108">
                  <c:v>44478</c:v>
                </c:pt>
                <c:pt idx="109">
                  <c:v>44479</c:v>
                </c:pt>
                <c:pt idx="110">
                  <c:v>44480</c:v>
                </c:pt>
                <c:pt idx="111">
                  <c:v>44481</c:v>
                </c:pt>
                <c:pt idx="112">
                  <c:v>44482</c:v>
                </c:pt>
                <c:pt idx="113">
                  <c:v>44483</c:v>
                </c:pt>
                <c:pt idx="114">
                  <c:v>44484</c:v>
                </c:pt>
                <c:pt idx="115">
                  <c:v>44485</c:v>
                </c:pt>
                <c:pt idx="116">
                  <c:v>44486</c:v>
                </c:pt>
                <c:pt idx="117">
                  <c:v>44487</c:v>
                </c:pt>
                <c:pt idx="118">
                  <c:v>44488</c:v>
                </c:pt>
                <c:pt idx="119">
                  <c:v>44489</c:v>
                </c:pt>
                <c:pt idx="120">
                  <c:v>44490</c:v>
                </c:pt>
                <c:pt idx="121">
                  <c:v>44491</c:v>
                </c:pt>
                <c:pt idx="122">
                  <c:v>44492</c:v>
                </c:pt>
                <c:pt idx="123">
                  <c:v>44493</c:v>
                </c:pt>
                <c:pt idx="124">
                  <c:v>44494</c:v>
                </c:pt>
                <c:pt idx="125">
                  <c:v>44495</c:v>
                </c:pt>
              </c:numCache>
            </c:numRef>
          </c:cat>
          <c:val>
            <c:numRef>
              <c:f>Sheet1!$B$135:$B$292</c:f>
              <c:numCache>
                <c:formatCode>General</c:formatCode>
                <c:ptCount val="158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3</c:v>
                </c:pt>
                <c:pt idx="5">
                  <c:v>3</c:v>
                </c:pt>
                <c:pt idx="6">
                  <c:v>1</c:v>
                </c:pt>
                <c:pt idx="7">
                  <c:v>3</c:v>
                </c:pt>
                <c:pt idx="8">
                  <c:v>1</c:v>
                </c:pt>
                <c:pt idx="9">
                  <c:v>3</c:v>
                </c:pt>
                <c:pt idx="10">
                  <c:v>2</c:v>
                </c:pt>
                <c:pt idx="11">
                  <c:v>4</c:v>
                </c:pt>
                <c:pt idx="12">
                  <c:v>2</c:v>
                </c:pt>
                <c:pt idx="13">
                  <c:v>4</c:v>
                </c:pt>
                <c:pt idx="14">
                  <c:v>1</c:v>
                </c:pt>
                <c:pt idx="15">
                  <c:v>1</c:v>
                </c:pt>
                <c:pt idx="16">
                  <c:v>4</c:v>
                </c:pt>
                <c:pt idx="17">
                  <c:v>7</c:v>
                </c:pt>
                <c:pt idx="18">
                  <c:v>1</c:v>
                </c:pt>
                <c:pt idx="19">
                  <c:v>7</c:v>
                </c:pt>
                <c:pt idx="20">
                  <c:v>4</c:v>
                </c:pt>
                <c:pt idx="21">
                  <c:v>7</c:v>
                </c:pt>
                <c:pt idx="22">
                  <c:v>5</c:v>
                </c:pt>
                <c:pt idx="23">
                  <c:v>7</c:v>
                </c:pt>
                <c:pt idx="24">
                  <c:v>3</c:v>
                </c:pt>
                <c:pt idx="25">
                  <c:v>4</c:v>
                </c:pt>
                <c:pt idx="26">
                  <c:v>10</c:v>
                </c:pt>
                <c:pt idx="27">
                  <c:v>8</c:v>
                </c:pt>
                <c:pt idx="28">
                  <c:v>7</c:v>
                </c:pt>
                <c:pt idx="29">
                  <c:v>7</c:v>
                </c:pt>
                <c:pt idx="30">
                  <c:v>6</c:v>
                </c:pt>
                <c:pt idx="31">
                  <c:v>1</c:v>
                </c:pt>
                <c:pt idx="32">
                  <c:v>3</c:v>
                </c:pt>
                <c:pt idx="33">
                  <c:v>9</c:v>
                </c:pt>
                <c:pt idx="34">
                  <c:v>5</c:v>
                </c:pt>
                <c:pt idx="35">
                  <c:v>2</c:v>
                </c:pt>
                <c:pt idx="36">
                  <c:v>8</c:v>
                </c:pt>
                <c:pt idx="37">
                  <c:v>4</c:v>
                </c:pt>
                <c:pt idx="38">
                  <c:v>2</c:v>
                </c:pt>
                <c:pt idx="39">
                  <c:v>1</c:v>
                </c:pt>
                <c:pt idx="40">
                  <c:v>2</c:v>
                </c:pt>
                <c:pt idx="41">
                  <c:v>6</c:v>
                </c:pt>
                <c:pt idx="42">
                  <c:v>11</c:v>
                </c:pt>
                <c:pt idx="43">
                  <c:v>3</c:v>
                </c:pt>
                <c:pt idx="44">
                  <c:v>6</c:v>
                </c:pt>
                <c:pt idx="45">
                  <c:v>1</c:v>
                </c:pt>
                <c:pt idx="46">
                  <c:v>3</c:v>
                </c:pt>
                <c:pt idx="47">
                  <c:v>11</c:v>
                </c:pt>
                <c:pt idx="48">
                  <c:v>3</c:v>
                </c:pt>
                <c:pt idx="49">
                  <c:v>7</c:v>
                </c:pt>
                <c:pt idx="50">
                  <c:v>4</c:v>
                </c:pt>
                <c:pt idx="51">
                  <c:v>9</c:v>
                </c:pt>
                <c:pt idx="52">
                  <c:v>5</c:v>
                </c:pt>
                <c:pt idx="53">
                  <c:v>2</c:v>
                </c:pt>
                <c:pt idx="54">
                  <c:v>7</c:v>
                </c:pt>
                <c:pt idx="55">
                  <c:v>4</c:v>
                </c:pt>
                <c:pt idx="56">
                  <c:v>3</c:v>
                </c:pt>
                <c:pt idx="57">
                  <c:v>3</c:v>
                </c:pt>
                <c:pt idx="58">
                  <c:v>4</c:v>
                </c:pt>
                <c:pt idx="59">
                  <c:v>1</c:v>
                </c:pt>
                <c:pt idx="60">
                  <c:v>3</c:v>
                </c:pt>
                <c:pt idx="61">
                  <c:v>8</c:v>
                </c:pt>
                <c:pt idx="62">
                  <c:v>4</c:v>
                </c:pt>
                <c:pt idx="63">
                  <c:v>6</c:v>
                </c:pt>
                <c:pt idx="64">
                  <c:v>5</c:v>
                </c:pt>
                <c:pt idx="65">
                  <c:v>4</c:v>
                </c:pt>
                <c:pt idx="66">
                  <c:v>3</c:v>
                </c:pt>
                <c:pt idx="67">
                  <c:v>2</c:v>
                </c:pt>
                <c:pt idx="68">
                  <c:v>1</c:v>
                </c:pt>
                <c:pt idx="69">
                  <c:v>7</c:v>
                </c:pt>
                <c:pt idx="70">
                  <c:v>8</c:v>
                </c:pt>
                <c:pt idx="71">
                  <c:v>12</c:v>
                </c:pt>
                <c:pt idx="72">
                  <c:v>13</c:v>
                </c:pt>
                <c:pt idx="73">
                  <c:v>9</c:v>
                </c:pt>
                <c:pt idx="74">
                  <c:v>3</c:v>
                </c:pt>
                <c:pt idx="75">
                  <c:v>7</c:v>
                </c:pt>
                <c:pt idx="76">
                  <c:v>12</c:v>
                </c:pt>
                <c:pt idx="77">
                  <c:v>2</c:v>
                </c:pt>
                <c:pt idx="78">
                  <c:v>7</c:v>
                </c:pt>
                <c:pt idx="79">
                  <c:v>5</c:v>
                </c:pt>
                <c:pt idx="80">
                  <c:v>4</c:v>
                </c:pt>
                <c:pt idx="81">
                  <c:v>5</c:v>
                </c:pt>
                <c:pt idx="82">
                  <c:v>9</c:v>
                </c:pt>
                <c:pt idx="83">
                  <c:v>9</c:v>
                </c:pt>
                <c:pt idx="84">
                  <c:v>8</c:v>
                </c:pt>
                <c:pt idx="85">
                  <c:v>16</c:v>
                </c:pt>
                <c:pt idx="86">
                  <c:v>12</c:v>
                </c:pt>
                <c:pt idx="87">
                  <c:v>5</c:v>
                </c:pt>
                <c:pt idx="88">
                  <c:v>9</c:v>
                </c:pt>
                <c:pt idx="89">
                  <c:v>18</c:v>
                </c:pt>
                <c:pt idx="90">
                  <c:v>19</c:v>
                </c:pt>
                <c:pt idx="91">
                  <c:v>17</c:v>
                </c:pt>
                <c:pt idx="92">
                  <c:v>14</c:v>
                </c:pt>
                <c:pt idx="93">
                  <c:v>15</c:v>
                </c:pt>
                <c:pt idx="94">
                  <c:v>10</c:v>
                </c:pt>
                <c:pt idx="95">
                  <c:v>10</c:v>
                </c:pt>
                <c:pt idx="96">
                  <c:v>18</c:v>
                </c:pt>
                <c:pt idx="97">
                  <c:v>19</c:v>
                </c:pt>
                <c:pt idx="98">
                  <c:v>24</c:v>
                </c:pt>
                <c:pt idx="99">
                  <c:v>37</c:v>
                </c:pt>
                <c:pt idx="100">
                  <c:v>21</c:v>
                </c:pt>
                <c:pt idx="101">
                  <c:v>14</c:v>
                </c:pt>
                <c:pt idx="102">
                  <c:v>16</c:v>
                </c:pt>
                <c:pt idx="103">
                  <c:v>18</c:v>
                </c:pt>
                <c:pt idx="104">
                  <c:v>28</c:v>
                </c:pt>
                <c:pt idx="105">
                  <c:v>27</c:v>
                </c:pt>
                <c:pt idx="106">
                  <c:v>30</c:v>
                </c:pt>
                <c:pt idx="107">
                  <c:v>25</c:v>
                </c:pt>
                <c:pt idx="108">
                  <c:v>15</c:v>
                </c:pt>
                <c:pt idx="109">
                  <c:v>10</c:v>
                </c:pt>
                <c:pt idx="110">
                  <c:v>39</c:v>
                </c:pt>
                <c:pt idx="111">
                  <c:v>60</c:v>
                </c:pt>
                <c:pt idx="112">
                  <c:v>47</c:v>
                </c:pt>
                <c:pt idx="113">
                  <c:v>45</c:v>
                </c:pt>
                <c:pt idx="114">
                  <c:v>37</c:v>
                </c:pt>
                <c:pt idx="115">
                  <c:v>24</c:v>
                </c:pt>
                <c:pt idx="116">
                  <c:v>30</c:v>
                </c:pt>
                <c:pt idx="117">
                  <c:v>91</c:v>
                </c:pt>
                <c:pt idx="118">
                  <c:v>101</c:v>
                </c:pt>
                <c:pt idx="119">
                  <c:v>89</c:v>
                </c:pt>
                <c:pt idx="120">
                  <c:v>118</c:v>
                </c:pt>
                <c:pt idx="121">
                  <c:v>105</c:v>
                </c:pt>
                <c:pt idx="122">
                  <c:v>76</c:v>
                </c:pt>
                <c:pt idx="123">
                  <c:v>45</c:v>
                </c:pt>
                <c:pt idx="124">
                  <c:v>162</c:v>
                </c:pt>
                <c:pt idx="125">
                  <c:v>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7466795309236889"/>
          <c:h val="0.90552881115878769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70</c:f>
              <c:numCache>
                <c:formatCode>m/d/yyyy</c:formatCode>
                <c:ptCount val="26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</c:numCache>
            </c:numRef>
          </c:cat>
          <c:val>
            <c:numRef>
              <c:f>List1!$B$2:$B$270</c:f>
              <c:numCache>
                <c:formatCode>General</c:formatCode>
                <c:ptCount val="269"/>
                <c:pt idx="0">
                  <c:v>110.86702962910999</c:v>
                </c:pt>
                <c:pt idx="1">
                  <c:v>114.707495885491</c:v>
                </c:pt>
                <c:pt idx="2">
                  <c:v>123.601625675619</c:v>
                </c:pt>
                <c:pt idx="3">
                  <c:v>94.807498641091996</c:v>
                </c:pt>
                <c:pt idx="4">
                  <c:v>100.19574104685501</c:v>
                </c:pt>
                <c:pt idx="5">
                  <c:v>48.777591150471999</c:v>
                </c:pt>
                <c:pt idx="6">
                  <c:v>34.892132249691002</c:v>
                </c:pt>
                <c:pt idx="7">
                  <c:v>117.448148578361</c:v>
                </c:pt>
                <c:pt idx="8">
                  <c:v>124.904465553007</c:v>
                </c:pt>
                <c:pt idx="9">
                  <c:v>115.952588275016</c:v>
                </c:pt>
                <c:pt idx="10">
                  <c:v>105.676602383846</c:v>
                </c:pt>
                <c:pt idx="11">
                  <c:v>107.027520032759</c:v>
                </c:pt>
                <c:pt idx="12">
                  <c:v>50.869447529798002</c:v>
                </c:pt>
                <c:pt idx="13">
                  <c:v>26.207780902951001</c:v>
                </c:pt>
                <c:pt idx="14">
                  <c:v>127.51188832643</c:v>
                </c:pt>
                <c:pt idx="15">
                  <c:v>131.89679446329799</c:v>
                </c:pt>
                <c:pt idx="16">
                  <c:v>127.611978239869</c:v>
                </c:pt>
                <c:pt idx="17">
                  <c:v>133.85967306743299</c:v>
                </c:pt>
                <c:pt idx="18">
                  <c:v>135.322374557237</c:v>
                </c:pt>
                <c:pt idx="19">
                  <c:v>67.664492380978004</c:v>
                </c:pt>
                <c:pt idx="20">
                  <c:v>38.567044189141001</c:v>
                </c:pt>
                <c:pt idx="21">
                  <c:v>150.85391106855701</c:v>
                </c:pt>
                <c:pt idx="22">
                  <c:v>184.169390365212</c:v>
                </c:pt>
                <c:pt idx="23">
                  <c:v>162.34989882122301</c:v>
                </c:pt>
                <c:pt idx="24">
                  <c:v>174.281899495468</c:v>
                </c:pt>
                <c:pt idx="25">
                  <c:v>184.551755646261</c:v>
                </c:pt>
                <c:pt idx="26">
                  <c:v>99.415557028378004</c:v>
                </c:pt>
                <c:pt idx="27">
                  <c:v>47.631393308692999</c:v>
                </c:pt>
                <c:pt idx="28">
                  <c:v>177.001953125</c:v>
                </c:pt>
                <c:pt idx="29">
                  <c:v>204.626279684678</c:v>
                </c:pt>
                <c:pt idx="30">
                  <c:v>182.63251728486301</c:v>
                </c:pt>
                <c:pt idx="31">
                  <c:v>167.96084256177801</c:v>
                </c:pt>
                <c:pt idx="32">
                  <c:v>159.826149579587</c:v>
                </c:pt>
                <c:pt idx="33">
                  <c:v>81.527921733195001</c:v>
                </c:pt>
                <c:pt idx="34">
                  <c:v>44.259258088378999</c:v>
                </c:pt>
                <c:pt idx="35">
                  <c:v>144.97084687136299</c:v>
                </c:pt>
                <c:pt idx="36">
                  <c:v>165.160166952602</c:v>
                </c:pt>
                <c:pt idx="37">
                  <c:v>166.029576431522</c:v>
                </c:pt>
                <c:pt idx="38">
                  <c:v>121.00427073896699</c:v>
                </c:pt>
                <c:pt idx="39">
                  <c:v>157.616730820583</c:v>
                </c:pt>
                <c:pt idx="40">
                  <c:v>76.211568525272995</c:v>
                </c:pt>
                <c:pt idx="41">
                  <c:v>39.739413680780999</c:v>
                </c:pt>
                <c:pt idx="42">
                  <c:v>138.59288992325</c:v>
                </c:pt>
                <c:pt idx="43">
                  <c:v>150.29303861021501</c:v>
                </c:pt>
                <c:pt idx="44">
                  <c:v>123.26717335847</c:v>
                </c:pt>
                <c:pt idx="45">
                  <c:v>111.837577426015</c:v>
                </c:pt>
                <c:pt idx="46">
                  <c:v>97.848660738058001</c:v>
                </c:pt>
                <c:pt idx="47">
                  <c:v>38.607468548226002</c:v>
                </c:pt>
                <c:pt idx="48">
                  <c:v>27.959551848326001</c:v>
                </c:pt>
                <c:pt idx="49">
                  <c:v>119.79895192648701</c:v>
                </c:pt>
                <c:pt idx="50">
                  <c:v>98.203415595509</c:v>
                </c:pt>
                <c:pt idx="51">
                  <c:v>87.258264169320995</c:v>
                </c:pt>
                <c:pt idx="52">
                  <c:v>78.450098915341997</c:v>
                </c:pt>
                <c:pt idx="53">
                  <c:v>79.896960471667001</c:v>
                </c:pt>
                <c:pt idx="54">
                  <c:v>36.543659330353996</c:v>
                </c:pt>
                <c:pt idx="55">
                  <c:v>14.499958571545999</c:v>
                </c:pt>
                <c:pt idx="56">
                  <c:v>87.828747882699005</c:v>
                </c:pt>
                <c:pt idx="57">
                  <c:v>95.004855803740995</c:v>
                </c:pt>
                <c:pt idx="58">
                  <c:v>67.601704986159007</c:v>
                </c:pt>
                <c:pt idx="59">
                  <c:v>61.906133026201999</c:v>
                </c:pt>
                <c:pt idx="60">
                  <c:v>34.352958374446999</c:v>
                </c:pt>
                <c:pt idx="61">
                  <c:v>23.421603501528999</c:v>
                </c:pt>
                <c:pt idx="62">
                  <c:v>31.498831613105999</c:v>
                </c:pt>
                <c:pt idx="63">
                  <c:v>25.938607022692</c:v>
                </c:pt>
                <c:pt idx="64">
                  <c:v>88.508187007298005</c:v>
                </c:pt>
                <c:pt idx="65">
                  <c:v>66.882514782555006</c:v>
                </c:pt>
                <c:pt idx="66">
                  <c:v>59.354500535732001</c:v>
                </c:pt>
                <c:pt idx="67">
                  <c:v>47.863033260884002</c:v>
                </c:pt>
                <c:pt idx="68">
                  <c:v>21.238269788954</c:v>
                </c:pt>
                <c:pt idx="69">
                  <c:v>10.237429617670999</c:v>
                </c:pt>
                <c:pt idx="70">
                  <c:v>38.297057509414003</c:v>
                </c:pt>
                <c:pt idx="71">
                  <c:v>45.300846155089999</c:v>
                </c:pt>
                <c:pt idx="72">
                  <c:v>45.976256547510999</c:v>
                </c:pt>
                <c:pt idx="73">
                  <c:v>31.772309596073001</c:v>
                </c:pt>
                <c:pt idx="74">
                  <c:v>37.005576067484</c:v>
                </c:pt>
                <c:pt idx="75">
                  <c:v>11.81883415643</c:v>
                </c:pt>
                <c:pt idx="76">
                  <c:v>9.3102777001919996</c:v>
                </c:pt>
                <c:pt idx="77">
                  <c:v>45.800361313960998</c:v>
                </c:pt>
                <c:pt idx="78">
                  <c:v>42.316162183167997</c:v>
                </c:pt>
                <c:pt idx="79">
                  <c:v>42.004673019873003</c:v>
                </c:pt>
                <c:pt idx="80">
                  <c:v>20.442445627538</c:v>
                </c:pt>
                <c:pt idx="81">
                  <c:v>22.610111241746999</c:v>
                </c:pt>
                <c:pt idx="82">
                  <c:v>11.831088460138</c:v>
                </c:pt>
                <c:pt idx="83">
                  <c:v>5.4766012212820003</c:v>
                </c:pt>
                <c:pt idx="84">
                  <c:v>23.046997437173001</c:v>
                </c:pt>
                <c:pt idx="85">
                  <c:v>25.178346621905</c:v>
                </c:pt>
                <c:pt idx="86">
                  <c:v>21.70630426576</c:v>
                </c:pt>
                <c:pt idx="87">
                  <c:v>33.398221306156003</c:v>
                </c:pt>
                <c:pt idx="88">
                  <c:v>29.982107452004001</c:v>
                </c:pt>
                <c:pt idx="89">
                  <c:v>9.6918007365760008</c:v>
                </c:pt>
                <c:pt idx="90">
                  <c:v>6.799483239273</c:v>
                </c:pt>
                <c:pt idx="91">
                  <c:v>26.411809013273999</c:v>
                </c:pt>
                <c:pt idx="92">
                  <c:v>21.665058200223999</c:v>
                </c:pt>
                <c:pt idx="93">
                  <c:v>19.810610563017001</c:v>
                </c:pt>
                <c:pt idx="94">
                  <c:v>17.945982592396</c:v>
                </c:pt>
                <c:pt idx="95">
                  <c:v>25.071202214288</c:v>
                </c:pt>
                <c:pt idx="96">
                  <c:v>10.0450016072</c:v>
                </c:pt>
                <c:pt idx="97">
                  <c:v>6.0367638921019999</c:v>
                </c:pt>
                <c:pt idx="98">
                  <c:v>17.157679070659</c:v>
                </c:pt>
                <c:pt idx="99">
                  <c:v>33.442104623116997</c:v>
                </c:pt>
                <c:pt idx="100">
                  <c:v>10.186411327288999</c:v>
                </c:pt>
                <c:pt idx="101">
                  <c:v>19.440522233818001</c:v>
                </c:pt>
                <c:pt idx="102">
                  <c:v>16.442804731416999</c:v>
                </c:pt>
                <c:pt idx="103">
                  <c:v>6.170427199243</c:v>
                </c:pt>
                <c:pt idx="104">
                  <c:v>3.0874679675190002</c:v>
                </c:pt>
                <c:pt idx="105">
                  <c:v>10.316084839481</c:v>
                </c:pt>
                <c:pt idx="106">
                  <c:v>9.3040565686630003</c:v>
                </c:pt>
                <c:pt idx="107">
                  <c:v>7.2560665899589996</c:v>
                </c:pt>
                <c:pt idx="108">
                  <c:v>11.438554166753001</c:v>
                </c:pt>
                <c:pt idx="109">
                  <c:v>7.3082625127889997</c:v>
                </c:pt>
                <c:pt idx="110">
                  <c:v>4.177982034677</c:v>
                </c:pt>
                <c:pt idx="111">
                  <c:v>1.0456750878359999</c:v>
                </c:pt>
                <c:pt idx="112">
                  <c:v>6.2877263581480003</c:v>
                </c:pt>
                <c:pt idx="113">
                  <c:v>4.2006216920100004</c:v>
                </c:pt>
                <c:pt idx="114">
                  <c:v>12.646888338515</c:v>
                </c:pt>
                <c:pt idx="115">
                  <c:v>3.1729243786349999</c:v>
                </c:pt>
                <c:pt idx="116">
                  <c:v>4.2458788438469997</c:v>
                </c:pt>
                <c:pt idx="117">
                  <c:v>1.0665642764959999</c:v>
                </c:pt>
                <c:pt idx="118">
                  <c:v>1.0674637062329999</c:v>
                </c:pt>
                <c:pt idx="119">
                  <c:v>4.2864184830359999</c:v>
                </c:pt>
                <c:pt idx="120">
                  <c:v>3.239775807514</c:v>
                </c:pt>
                <c:pt idx="121">
                  <c:v>1.0872165082950001</c:v>
                </c:pt>
                <c:pt idx="122">
                  <c:v>6.5884833311369997</c:v>
                </c:pt>
                <c:pt idx="123">
                  <c:v>3.3238050920690001</c:v>
                </c:pt>
                <c:pt idx="124">
                  <c:v>1.110124333925</c:v>
                </c:pt>
                <c:pt idx="125">
                  <c:v>1.1115186679560001</c:v>
                </c:pt>
                <c:pt idx="126">
                  <c:v>2.239014833473</c:v>
                </c:pt>
                <c:pt idx="127">
                  <c:v>1.1277898701910001</c:v>
                </c:pt>
                <c:pt idx="128">
                  <c:v>3.4070389424549998</c:v>
                </c:pt>
                <c:pt idx="129">
                  <c:v>4.5851578440580001</c:v>
                </c:pt>
                <c:pt idx="131">
                  <c:v>2.3248515001099999</c:v>
                </c:pt>
                <c:pt idx="132">
                  <c:v>1.165677783347</c:v>
                </c:pt>
                <c:pt idx="133">
                  <c:v>2.346041055718</c:v>
                </c:pt>
                <c:pt idx="135">
                  <c:v>1.189088920069</c:v>
                </c:pt>
                <c:pt idx="136">
                  <c:v>3.5952255404820002</c:v>
                </c:pt>
                <c:pt idx="137">
                  <c:v>4.8417357622699999</c:v>
                </c:pt>
                <c:pt idx="138">
                  <c:v>1.2128121475260001</c:v>
                </c:pt>
                <c:pt idx="139">
                  <c:v>1.214860169594</c:v>
                </c:pt>
                <c:pt idx="142">
                  <c:v>3.710529245154</c:v>
                </c:pt>
                <c:pt idx="143">
                  <c:v>3.7365484256669999</c:v>
                </c:pt>
                <c:pt idx="145">
                  <c:v>1.260302976835</c:v>
                </c:pt>
                <c:pt idx="146">
                  <c:v>3.7869224943190001</c:v>
                </c:pt>
                <c:pt idx="147">
                  <c:v>0</c:v>
                </c:pt>
                <c:pt idx="148">
                  <c:v>3.8340618050759998</c:v>
                </c:pt>
                <c:pt idx="150">
                  <c:v>1.296243486376</c:v>
                </c:pt>
                <c:pt idx="151">
                  <c:v>2.612603197826</c:v>
                </c:pt>
                <c:pt idx="153">
                  <c:v>1.312335958005</c:v>
                </c:pt>
                <c:pt idx="154">
                  <c:v>2.6400549131419999</c:v>
                </c:pt>
                <c:pt idx="155">
                  <c:v>1.3288330188419999</c:v>
                </c:pt>
                <c:pt idx="156">
                  <c:v>0</c:v>
                </c:pt>
                <c:pt idx="157">
                  <c:v>1.348017739913</c:v>
                </c:pt>
                <c:pt idx="158">
                  <c:v>6.7942167626909997</c:v>
                </c:pt>
                <c:pt idx="159">
                  <c:v>1.361933946203</c:v>
                </c:pt>
                <c:pt idx="161">
                  <c:v>2.7455933227170002</c:v>
                </c:pt>
                <c:pt idx="162">
                  <c:v>4.1471978766340003</c:v>
                </c:pt>
                <c:pt idx="163">
                  <c:v>4.1785057663370004</c:v>
                </c:pt>
                <c:pt idx="164">
                  <c:v>5.6166364772449997</c:v>
                </c:pt>
                <c:pt idx="165">
                  <c:v>4.2447824548990001</c:v>
                </c:pt>
                <c:pt idx="166">
                  <c:v>4.2542329617960002</c:v>
                </c:pt>
                <c:pt idx="167">
                  <c:v>4.260153365521</c:v>
                </c:pt>
                <c:pt idx="168">
                  <c:v>8.5313313142510001</c:v>
                </c:pt>
                <c:pt idx="169">
                  <c:v>4.272347940016</c:v>
                </c:pt>
                <c:pt idx="170">
                  <c:v>7.1691782687860002</c:v>
                </c:pt>
                <c:pt idx="171">
                  <c:v>2.884962134871</c:v>
                </c:pt>
                <c:pt idx="172">
                  <c:v>4.3555271639709998</c:v>
                </c:pt>
                <c:pt idx="173">
                  <c:v>0</c:v>
                </c:pt>
                <c:pt idx="174">
                  <c:v>4.3729228616400002</c:v>
                </c:pt>
                <c:pt idx="175">
                  <c:v>5.8648446549270004</c:v>
                </c:pt>
                <c:pt idx="176">
                  <c:v>2.9487652045699999</c:v>
                </c:pt>
                <c:pt idx="177">
                  <c:v>0</c:v>
                </c:pt>
                <c:pt idx="178">
                  <c:v>10.459000717187999</c:v>
                </c:pt>
                <c:pt idx="179">
                  <c:v>3.0090119909120001</c:v>
                </c:pt>
                <c:pt idx="180">
                  <c:v>1.5074316379749999</c:v>
                </c:pt>
                <c:pt idx="181">
                  <c:v>0</c:v>
                </c:pt>
                <c:pt idx="182">
                  <c:v>0</c:v>
                </c:pt>
                <c:pt idx="183">
                  <c:v>3.0655099475790002</c:v>
                </c:pt>
                <c:pt idx="184">
                  <c:v>10.806471532666</c:v>
                </c:pt>
                <c:pt idx="185">
                  <c:v>0</c:v>
                </c:pt>
                <c:pt idx="186">
                  <c:v>7.8258283639319997</c:v>
                </c:pt>
                <c:pt idx="187">
                  <c:v>1.5700558939889999</c:v>
                </c:pt>
                <c:pt idx="188">
                  <c:v>1.5736384093660001</c:v>
                </c:pt>
                <c:pt idx="189">
                  <c:v>12.652222046496</c:v>
                </c:pt>
                <c:pt idx="190">
                  <c:v>1.5911911657060001</c:v>
                </c:pt>
                <c:pt idx="191">
                  <c:v>4.8036892333310002</c:v>
                </c:pt>
                <c:pt idx="192">
                  <c:v>3.2195231886150002</c:v>
                </c:pt>
                <c:pt idx="193">
                  <c:v>9.7121952798730007</c:v>
                </c:pt>
                <c:pt idx="194">
                  <c:v>6.4890821193340003</c:v>
                </c:pt>
                <c:pt idx="195">
                  <c:v>1.6253291291480001</c:v>
                </c:pt>
                <c:pt idx="196">
                  <c:v>6.5306122448970001</c:v>
                </c:pt>
                <c:pt idx="197">
                  <c:v>4.9223903127349997</c:v>
                </c:pt>
                <c:pt idx="198">
                  <c:v>4.9491066862429998</c:v>
                </c:pt>
                <c:pt idx="199">
                  <c:v>0</c:v>
                </c:pt>
                <c:pt idx="200">
                  <c:v>5.0046710262909997</c:v>
                </c:pt>
                <c:pt idx="201">
                  <c:v>0</c:v>
                </c:pt>
                <c:pt idx="202">
                  <c:v>1.6752663673520001</c:v>
                </c:pt>
                <c:pt idx="203">
                  <c:v>6.7441115476039997</c:v>
                </c:pt>
                <c:pt idx="204">
                  <c:v>1.6948865273460001</c:v>
                </c:pt>
                <c:pt idx="205">
                  <c:v>3.4109320371790002</c:v>
                </c:pt>
                <c:pt idx="206">
                  <c:v>6.859063394893</c:v>
                </c:pt>
                <c:pt idx="207">
                  <c:v>1.72577444128</c:v>
                </c:pt>
                <c:pt idx="208">
                  <c:v>3.4572767031399998</c:v>
                </c:pt>
                <c:pt idx="209">
                  <c:v>3.4621842920689998</c:v>
                </c:pt>
                <c:pt idx="210">
                  <c:v>0</c:v>
                </c:pt>
                <c:pt idx="211">
                  <c:v>1.749077361691</c:v>
                </c:pt>
                <c:pt idx="212">
                  <c:v>5.2753745515929999</c:v>
                </c:pt>
                <c:pt idx="213">
                  <c:v>14.142021248385999</c:v>
                </c:pt>
                <c:pt idx="214">
                  <c:v>8.8994891693210008</c:v>
                </c:pt>
                <c:pt idx="215">
                  <c:v>10.692518801012</c:v>
                </c:pt>
                <c:pt idx="216">
                  <c:v>1.783803068141</c:v>
                </c:pt>
                <c:pt idx="217">
                  <c:v>7.1710290426669996</c:v>
                </c:pt>
                <c:pt idx="218">
                  <c:v>9.0054392853280003</c:v>
                </c:pt>
                <c:pt idx="219">
                  <c:v>1.8088088993389999</c:v>
                </c:pt>
                <c:pt idx="220">
                  <c:v>5.4483046691970003</c:v>
                </c:pt>
                <c:pt idx="221">
                  <c:v>1.8240186779509999</c:v>
                </c:pt>
                <c:pt idx="222">
                  <c:v>1.8253837869409999</c:v>
                </c:pt>
                <c:pt idx="223">
                  <c:v>3.6533684056700002</c:v>
                </c:pt>
                <c:pt idx="224">
                  <c:v>3.6626682538219999</c:v>
                </c:pt>
                <c:pt idx="225">
                  <c:v>5.5093383284659998</c:v>
                </c:pt>
                <c:pt idx="226">
                  <c:v>5.5206933990899998</c:v>
                </c:pt>
                <c:pt idx="227">
                  <c:v>11.067047864981999</c:v>
                </c:pt>
                <c:pt idx="228">
                  <c:v>16.639550362371999</c:v>
                </c:pt>
                <c:pt idx="229">
                  <c:v>3.6986352036090002</c:v>
                </c:pt>
                <c:pt idx="230">
                  <c:v>9.2464170134069992</c:v>
                </c:pt>
                <c:pt idx="231">
                  <c:v>18.530872433473998</c:v>
                </c:pt>
                <c:pt idx="232">
                  <c:v>16.704096215593999</c:v>
                </c:pt>
                <c:pt idx="233">
                  <c:v>16.730801405386998</c:v>
                </c:pt>
                <c:pt idx="234">
                  <c:v>11.171728080137999</c:v>
                </c:pt>
                <c:pt idx="235">
                  <c:v>16.79386464145</c:v>
                </c:pt>
                <c:pt idx="236">
                  <c:v>11.196536538029999</c:v>
                </c:pt>
                <c:pt idx="237">
                  <c:v>11.196536538029999</c:v>
                </c:pt>
                <c:pt idx="238">
                  <c:v>11.210552867098</c:v>
                </c:pt>
                <c:pt idx="239">
                  <c:v>16.843838898038001</c:v>
                </c:pt>
                <c:pt idx="240">
                  <c:v>26.238356729201001</c:v>
                </c:pt>
                <c:pt idx="241">
                  <c:v>35.668694150333998</c:v>
                </c:pt>
                <c:pt idx="242">
                  <c:v>31.994579741784001</c:v>
                </c:pt>
                <c:pt idx="243">
                  <c:v>13.183667319572001</c:v>
                </c:pt>
                <c:pt idx="244">
                  <c:v>11.307527043835</c:v>
                </c:pt>
                <c:pt idx="245">
                  <c:v>15.110876053039</c:v>
                </c:pt>
                <c:pt idx="246">
                  <c:v>30.278371780556999</c:v>
                </c:pt>
                <c:pt idx="247">
                  <c:v>24.642214008149999</c:v>
                </c:pt>
                <c:pt idx="248">
                  <c:v>18.997321377685001</c:v>
                </c:pt>
                <c:pt idx="249">
                  <c:v>17.144489951423001</c:v>
                </c:pt>
                <c:pt idx="250">
                  <c:v>13.345026118122</c:v>
                </c:pt>
                <c:pt idx="251">
                  <c:v>9.5387080773770005</c:v>
                </c:pt>
                <c:pt idx="252">
                  <c:v>34.404327299833</c:v>
                </c:pt>
                <c:pt idx="253">
                  <c:v>51.631162274829997</c:v>
                </c:pt>
                <c:pt idx="254">
                  <c:v>28.752707546627001</c:v>
                </c:pt>
                <c:pt idx="255">
                  <c:v>44.168763082595</c:v>
                </c:pt>
                <c:pt idx="256">
                  <c:v>23.089800080814001</c:v>
                </c:pt>
                <c:pt idx="257">
                  <c:v>17.328686678090001</c:v>
                </c:pt>
                <c:pt idx="258">
                  <c:v>26.970794482546001</c:v>
                </c:pt>
                <c:pt idx="259">
                  <c:v>98.428996024240007</c:v>
                </c:pt>
                <c:pt idx="260">
                  <c:v>83.135162306903993</c:v>
                </c:pt>
                <c:pt idx="261">
                  <c:v>81.324426372348995</c:v>
                </c:pt>
                <c:pt idx="262">
                  <c:v>108.61343315425</c:v>
                </c:pt>
                <c:pt idx="263">
                  <c:v>99.136925588989001</c:v>
                </c:pt>
                <c:pt idx="264">
                  <c:v>64.192343604108004</c:v>
                </c:pt>
                <c:pt idx="265">
                  <c:v>36.977930014400997</c:v>
                </c:pt>
                <c:pt idx="266">
                  <c:v>109.189463216799</c:v>
                </c:pt>
                <c:pt idx="267">
                  <c:v>119.1103821295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248-4A88-BB71-0570AF2D8D6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270</c:f>
              <c:numCache>
                <c:formatCode>m/d/yyyy</c:formatCode>
                <c:ptCount val="269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</c:numCache>
            </c:numRef>
          </c:cat>
          <c:val>
            <c:numRef>
              <c:f>List1!$C$2:$C$270</c:f>
              <c:numCache>
                <c:formatCode>General</c:formatCode>
                <c:ptCount val="26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2.832852101379</c:v>
                </c:pt>
                <c:pt idx="9">
                  <c:v>10.27802045326</c:v>
                </c:pt>
                <c:pt idx="10">
                  <c:v>12.469864494138999</c:v>
                </c:pt>
                <c:pt idx="11">
                  <c:v>16.872511304582002</c:v>
                </c:pt>
                <c:pt idx="12">
                  <c:v>3.3058944097320002</c:v>
                </c:pt>
                <c:pt idx="13">
                  <c:v>0</c:v>
                </c:pt>
                <c:pt idx="14">
                  <c:v>8.3572443379659997</c:v>
                </c:pt>
                <c:pt idx="15">
                  <c:v>14.263978699124999</c:v>
                </c:pt>
                <c:pt idx="16">
                  <c:v>4.184450581638</c:v>
                </c:pt>
                <c:pt idx="17">
                  <c:v>18.525722966338002</c:v>
                </c:pt>
                <c:pt idx="18">
                  <c:v>10.172077646859</c:v>
                </c:pt>
                <c:pt idx="19">
                  <c:v>6.6975871942129999</c:v>
                </c:pt>
                <c:pt idx="20">
                  <c:v>1.6568910097089999</c:v>
                </c:pt>
                <c:pt idx="21">
                  <c:v>13.889746280634</c:v>
                </c:pt>
                <c:pt idx="22">
                  <c:v>20.436166175225001</c:v>
                </c:pt>
                <c:pt idx="23">
                  <c:v>19.456875225838001</c:v>
                </c:pt>
                <c:pt idx="24">
                  <c:v>14.638171027066999</c:v>
                </c:pt>
                <c:pt idx="25">
                  <c:v>26.904450764855</c:v>
                </c:pt>
                <c:pt idx="26">
                  <c:v>11.476078751402</c:v>
                </c:pt>
                <c:pt idx="27">
                  <c:v>14.007920842512</c:v>
                </c:pt>
                <c:pt idx="28">
                  <c:v>24.826524658945001</c:v>
                </c:pt>
                <c:pt idx="29">
                  <c:v>15.821629384415999</c:v>
                </c:pt>
                <c:pt idx="30">
                  <c:v>22.768670309653</c:v>
                </c:pt>
                <c:pt idx="31">
                  <c:v>12.957945576627999</c:v>
                </c:pt>
                <c:pt idx="32">
                  <c:v>18.566438840989999</c:v>
                </c:pt>
                <c:pt idx="33">
                  <c:v>10.432363509909999</c:v>
                </c:pt>
                <c:pt idx="34">
                  <c:v>4.6316667052630001</c:v>
                </c:pt>
                <c:pt idx="35">
                  <c:v>16.041800348336</c:v>
                </c:pt>
                <c:pt idx="36">
                  <c:v>19.240345873511</c:v>
                </c:pt>
                <c:pt idx="37">
                  <c:v>6.7266082199149997</c:v>
                </c:pt>
                <c:pt idx="38">
                  <c:v>16.652604467338001</c:v>
                </c:pt>
                <c:pt idx="39">
                  <c:v>17.562731882944</c:v>
                </c:pt>
                <c:pt idx="40">
                  <c:v>7.6802387457070003</c:v>
                </c:pt>
                <c:pt idx="41">
                  <c:v>8.7732765994770006</c:v>
                </c:pt>
                <c:pt idx="42">
                  <c:v>21.799790722009</c:v>
                </c:pt>
                <c:pt idx="43">
                  <c:v>11.909401931488</c:v>
                </c:pt>
                <c:pt idx="44">
                  <c:v>8.5971586390690007</c:v>
                </c:pt>
                <c:pt idx="45">
                  <c:v>13.878805995644001</c:v>
                </c:pt>
                <c:pt idx="46">
                  <c:v>16.918326777480999</c:v>
                </c:pt>
                <c:pt idx="47">
                  <c:v>3.171347928581</c:v>
                </c:pt>
                <c:pt idx="48">
                  <c:v>4.2268106600159996</c:v>
                </c:pt>
                <c:pt idx="49">
                  <c:v>13.618554757065001</c:v>
                </c:pt>
                <c:pt idx="50">
                  <c:v>14.548931173163</c:v>
                </c:pt>
                <c:pt idx="51">
                  <c:v>16.480403769892</c:v>
                </c:pt>
                <c:pt idx="52">
                  <c:v>10.167251283615</c:v>
                </c:pt>
                <c:pt idx="53">
                  <c:v>8.0174781022620003</c:v>
                </c:pt>
                <c:pt idx="54">
                  <c:v>7.0028011204479998</c:v>
                </c:pt>
                <c:pt idx="55">
                  <c:v>3.9924941110710002</c:v>
                </c:pt>
                <c:pt idx="56">
                  <c:v>9.8446514008929995</c:v>
                </c:pt>
                <c:pt idx="57">
                  <c:v>5.8272228427129997</c:v>
                </c:pt>
                <c:pt idx="58">
                  <c:v>11.476883643527</c:v>
                </c:pt>
                <c:pt idx="59">
                  <c:v>4.7075660000750004</c:v>
                </c:pt>
                <c:pt idx="60">
                  <c:v>2.768498182019</c:v>
                </c:pt>
                <c:pt idx="61">
                  <c:v>8.2875980699100005</c:v>
                </c:pt>
                <c:pt idx="62">
                  <c:v>0.91950640895900004</c:v>
                </c:pt>
                <c:pt idx="63">
                  <c:v>1.811955280943</c:v>
                </c:pt>
                <c:pt idx="64">
                  <c:v>8.0330605067959997</c:v>
                </c:pt>
                <c:pt idx="65">
                  <c:v>6.1495752400530002</c:v>
                </c:pt>
                <c:pt idx="66">
                  <c:v>7.7774609182579999</c:v>
                </c:pt>
                <c:pt idx="67">
                  <c:v>4.2356369550849999</c:v>
                </c:pt>
                <c:pt idx="68">
                  <c:v>4.2226519943580003</c:v>
                </c:pt>
                <c:pt idx="69">
                  <c:v>1.686354859653</c:v>
                </c:pt>
                <c:pt idx="70">
                  <c:v>7.481732104112</c:v>
                </c:pt>
                <c:pt idx="71">
                  <c:v>4.0964803041220001</c:v>
                </c:pt>
                <c:pt idx="72">
                  <c:v>4.0349588837679997</c:v>
                </c:pt>
                <c:pt idx="73">
                  <c:v>4.7557524789350003</c:v>
                </c:pt>
                <c:pt idx="74">
                  <c:v>3.939830902457</c:v>
                </c:pt>
                <c:pt idx="75">
                  <c:v>4.7095761381469998</c:v>
                </c:pt>
                <c:pt idx="76">
                  <c:v>3.1310909503639999</c:v>
                </c:pt>
                <c:pt idx="77">
                  <c:v>5.4669561550110002</c:v>
                </c:pt>
                <c:pt idx="78">
                  <c:v>5.3765505587769997</c:v>
                </c:pt>
                <c:pt idx="79">
                  <c:v>9.1072607636429996</c:v>
                </c:pt>
                <c:pt idx="80">
                  <c:v>2.9946844351270001</c:v>
                </c:pt>
                <c:pt idx="81">
                  <c:v>3.68851249668</c:v>
                </c:pt>
                <c:pt idx="82">
                  <c:v>0.733724163737</c:v>
                </c:pt>
                <c:pt idx="83">
                  <c:v>0.73174836637100005</c:v>
                </c:pt>
                <c:pt idx="84">
                  <c:v>5.0802682381619997</c:v>
                </c:pt>
                <c:pt idx="85">
                  <c:v>5.0333640128850003</c:v>
                </c:pt>
                <c:pt idx="86">
                  <c:v>2.1368738959479998</c:v>
                </c:pt>
                <c:pt idx="87">
                  <c:v>7.0620970190880001</c:v>
                </c:pt>
                <c:pt idx="88">
                  <c:v>4.1944256083660001</c:v>
                </c:pt>
                <c:pt idx="89">
                  <c:v>1.3957415924009999</c:v>
                </c:pt>
                <c:pt idx="90">
                  <c:v>2.7872622116920001</c:v>
                </c:pt>
                <c:pt idx="91">
                  <c:v>4.8537630531550002</c:v>
                </c:pt>
                <c:pt idx="92">
                  <c:v>7.5922807211279997</c:v>
                </c:pt>
                <c:pt idx="93">
                  <c:v>5.4997937577340004</c:v>
                </c:pt>
                <c:pt idx="94">
                  <c:v>2.053374035769</c:v>
                </c:pt>
                <c:pt idx="95">
                  <c:v>2.045394113355</c:v>
                </c:pt>
                <c:pt idx="96">
                  <c:v>0</c:v>
                </c:pt>
                <c:pt idx="97">
                  <c:v>0</c:v>
                </c:pt>
                <c:pt idx="98">
                  <c:v>2.716210343328</c:v>
                </c:pt>
                <c:pt idx="99">
                  <c:v>2.031804513315</c:v>
                </c:pt>
                <c:pt idx="100">
                  <c:v>4.0500587258509997</c:v>
                </c:pt>
                <c:pt idx="101">
                  <c:v>4.0385547358779998</c:v>
                </c:pt>
                <c:pt idx="102">
                  <c:v>1.3424620754459999</c:v>
                </c:pt>
                <c:pt idx="103">
                  <c:v>1.341966652128</c:v>
                </c:pt>
                <c:pt idx="104">
                  <c:v>0.67072679956000003</c:v>
                </c:pt>
                <c:pt idx="105">
                  <c:v>4.6882639358639997</c:v>
                </c:pt>
                <c:pt idx="106">
                  <c:v>2.0067158089069999</c:v>
                </c:pt>
                <c:pt idx="107">
                  <c:v>2.0034057898420001</c:v>
                </c:pt>
                <c:pt idx="108">
                  <c:v>2.6660268202289998</c:v>
                </c:pt>
                <c:pt idx="109">
                  <c:v>0.66487151357999996</c:v>
                </c:pt>
                <c:pt idx="110">
                  <c:v>0.66474776146100001</c:v>
                </c:pt>
                <c:pt idx="111">
                  <c:v>0</c:v>
                </c:pt>
                <c:pt idx="112">
                  <c:v>1.990432653711</c:v>
                </c:pt>
                <c:pt idx="113">
                  <c:v>1.987992525148</c:v>
                </c:pt>
                <c:pt idx="114">
                  <c:v>0.66124008966400005</c:v>
                </c:pt>
                <c:pt idx="115">
                  <c:v>1.9795185810810001</c:v>
                </c:pt>
                <c:pt idx="116">
                  <c:v>2.6336928324039999</c:v>
                </c:pt>
                <c:pt idx="117">
                  <c:v>0.65653846658799997</c:v>
                </c:pt>
                <c:pt idx="118">
                  <c:v>0</c:v>
                </c:pt>
                <c:pt idx="119">
                  <c:v>1.309526147963</c:v>
                </c:pt>
                <c:pt idx="120">
                  <c:v>0</c:v>
                </c:pt>
                <c:pt idx="121">
                  <c:v>0</c:v>
                </c:pt>
                <c:pt idx="122">
                  <c:v>1.290672311205999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63825577461899996</c:v>
                </c:pt>
                <c:pt idx="127">
                  <c:v>0.63562284682699999</c:v>
                </c:pt>
                <c:pt idx="128">
                  <c:v>0</c:v>
                </c:pt>
                <c:pt idx="129">
                  <c:v>0</c:v>
                </c:pt>
                <c:pt idx="131">
                  <c:v>0.62521882658899997</c:v>
                </c:pt>
                <c:pt idx="132">
                  <c:v>0.62430546017499999</c:v>
                </c:pt>
                <c:pt idx="133">
                  <c:v>0</c:v>
                </c:pt>
                <c:pt idx="135">
                  <c:v>0</c:v>
                </c:pt>
                <c:pt idx="136">
                  <c:v>0.61539976368600002</c:v>
                </c:pt>
                <c:pt idx="137">
                  <c:v>0</c:v>
                </c:pt>
                <c:pt idx="138">
                  <c:v>0.61171432940799997</c:v>
                </c:pt>
                <c:pt idx="139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59829724603699996</c:v>
                </c:pt>
                <c:pt idx="148">
                  <c:v>0</c:v>
                </c:pt>
                <c:pt idx="150">
                  <c:v>0.59268742257999996</c:v>
                </c:pt>
                <c:pt idx="151">
                  <c:v>1.1811186374610001</c:v>
                </c:pt>
                <c:pt idx="153">
                  <c:v>0.58923699701200005</c:v>
                </c:pt>
                <c:pt idx="154">
                  <c:v>1.175302199578</c:v>
                </c:pt>
                <c:pt idx="155">
                  <c:v>0</c:v>
                </c:pt>
                <c:pt idx="156">
                  <c:v>0.58400640070999998</c:v>
                </c:pt>
                <c:pt idx="157">
                  <c:v>1.7463690077709999</c:v>
                </c:pt>
                <c:pt idx="158">
                  <c:v>1.160160102094</c:v>
                </c:pt>
                <c:pt idx="159">
                  <c:v>0</c:v>
                </c:pt>
                <c:pt idx="161">
                  <c:v>2.8871694191009998</c:v>
                </c:pt>
                <c:pt idx="162">
                  <c:v>0.575701924571</c:v>
                </c:pt>
                <c:pt idx="163">
                  <c:v>2.2954601536810002</c:v>
                </c:pt>
                <c:pt idx="164">
                  <c:v>0.57191878753199998</c:v>
                </c:pt>
                <c:pt idx="165">
                  <c:v>2.2804237027230001</c:v>
                </c:pt>
                <c:pt idx="166">
                  <c:v>0</c:v>
                </c:pt>
                <c:pt idx="167">
                  <c:v>0.56918759854000001</c:v>
                </c:pt>
                <c:pt idx="168">
                  <c:v>2.2753775704649999</c:v>
                </c:pt>
                <c:pt idx="169">
                  <c:v>2.8422171567590002</c:v>
                </c:pt>
                <c:pt idx="170">
                  <c:v>1.1337290047549999</c:v>
                </c:pt>
                <c:pt idx="171">
                  <c:v>2.8273986236219999</c:v>
                </c:pt>
                <c:pt idx="172">
                  <c:v>1.692028290713</c:v>
                </c:pt>
                <c:pt idx="173">
                  <c:v>0.56344694301800002</c:v>
                </c:pt>
                <c:pt idx="174">
                  <c:v>0</c:v>
                </c:pt>
                <c:pt idx="175">
                  <c:v>2.808673182788</c:v>
                </c:pt>
                <c:pt idx="176">
                  <c:v>1.6815012443099999</c:v>
                </c:pt>
                <c:pt idx="177">
                  <c:v>1.1179492339249999</c:v>
                </c:pt>
                <c:pt idx="178">
                  <c:v>0.55760941690700006</c:v>
                </c:pt>
                <c:pt idx="179">
                  <c:v>1.112272818276</c:v>
                </c:pt>
                <c:pt idx="180">
                  <c:v>0.55569139122800004</c:v>
                </c:pt>
                <c:pt idx="181">
                  <c:v>0.55520084390500002</c:v>
                </c:pt>
                <c:pt idx="182">
                  <c:v>1.107720256326</c:v>
                </c:pt>
                <c:pt idx="183">
                  <c:v>2.209737207002</c:v>
                </c:pt>
                <c:pt idx="184">
                  <c:v>2.2042089369650002</c:v>
                </c:pt>
                <c:pt idx="185">
                  <c:v>1.6490130656799999</c:v>
                </c:pt>
                <c:pt idx="186">
                  <c:v>0.54844707211499999</c:v>
                </c:pt>
                <c:pt idx="187">
                  <c:v>0</c:v>
                </c:pt>
                <c:pt idx="188">
                  <c:v>1.0949664392780001</c:v>
                </c:pt>
                <c:pt idx="189">
                  <c:v>1.639702667249</c:v>
                </c:pt>
                <c:pt idx="190">
                  <c:v>1.0909170248510001</c:v>
                </c:pt>
                <c:pt idx="191">
                  <c:v>2.1772973208350002</c:v>
                </c:pt>
                <c:pt idx="192">
                  <c:v>1.086755708184</c:v>
                </c:pt>
                <c:pt idx="193">
                  <c:v>1.6272068993569999</c:v>
                </c:pt>
                <c:pt idx="194">
                  <c:v>0.54203479863399995</c:v>
                </c:pt>
                <c:pt idx="195">
                  <c:v>0.54172941698999999</c:v>
                </c:pt>
                <c:pt idx="196">
                  <c:v>1.622858502967</c:v>
                </c:pt>
                <c:pt idx="197">
                  <c:v>0.54009970240500005</c:v>
                </c:pt>
                <c:pt idx="198">
                  <c:v>0</c:v>
                </c:pt>
                <c:pt idx="199">
                  <c:v>1.614995774094</c:v>
                </c:pt>
                <c:pt idx="200">
                  <c:v>0.53729065812700005</c:v>
                </c:pt>
                <c:pt idx="201">
                  <c:v>0.53692140007599998</c:v>
                </c:pt>
                <c:pt idx="202">
                  <c:v>1.073266540378</c:v>
                </c:pt>
                <c:pt idx="203">
                  <c:v>2.142279492493</c:v>
                </c:pt>
                <c:pt idx="204">
                  <c:v>1.60414939978</c:v>
                </c:pt>
                <c:pt idx="205">
                  <c:v>2.1348134706719999</c:v>
                </c:pt>
                <c:pt idx="206">
                  <c:v>0.53283318058700002</c:v>
                </c:pt>
                <c:pt idx="207">
                  <c:v>1.5954306865129999</c:v>
                </c:pt>
                <c:pt idx="208">
                  <c:v>0.53157276433699996</c:v>
                </c:pt>
                <c:pt idx="209">
                  <c:v>0</c:v>
                </c:pt>
                <c:pt idx="210">
                  <c:v>0.53044769785599999</c:v>
                </c:pt>
                <c:pt idx="211">
                  <c:v>3.1785890243320001</c:v>
                </c:pt>
                <c:pt idx="212">
                  <c:v>2.6442994193109999</c:v>
                </c:pt>
                <c:pt idx="213">
                  <c:v>2.1118989667529999</c:v>
                </c:pt>
                <c:pt idx="214">
                  <c:v>4.2148076730569999</c:v>
                </c:pt>
                <c:pt idx="215">
                  <c:v>1.5798287465630001</c:v>
                </c:pt>
                <c:pt idx="216">
                  <c:v>1.0528199783109999</c:v>
                </c:pt>
                <c:pt idx="217">
                  <c:v>1.5767565067480001</c:v>
                </c:pt>
                <c:pt idx="218">
                  <c:v>3.6737500065600002</c:v>
                </c:pt>
                <c:pt idx="219">
                  <c:v>0.52412000251500002</c:v>
                </c:pt>
                <c:pt idx="220">
                  <c:v>2.0938461860589999</c:v>
                </c:pt>
                <c:pt idx="221">
                  <c:v>2.091033127192</c:v>
                </c:pt>
                <c:pt idx="222">
                  <c:v>1.5677912956219999</c:v>
                </c:pt>
                <c:pt idx="223">
                  <c:v>1.567324420481</c:v>
                </c:pt>
                <c:pt idx="224">
                  <c:v>3.6540740315389999</c:v>
                </c:pt>
                <c:pt idx="225">
                  <c:v>3.1292864705290002</c:v>
                </c:pt>
                <c:pt idx="226">
                  <c:v>2.60597184508</c:v>
                </c:pt>
                <c:pt idx="227">
                  <c:v>5.2080349563299997</c:v>
                </c:pt>
                <c:pt idx="228">
                  <c:v>1.5612314994059999</c:v>
                </c:pt>
                <c:pt idx="229">
                  <c:v>1.5609715486910001</c:v>
                </c:pt>
                <c:pt idx="230">
                  <c:v>2.0811004859360001</c:v>
                </c:pt>
                <c:pt idx="231">
                  <c:v>4.15940936387</c:v>
                </c:pt>
                <c:pt idx="232">
                  <c:v>5.1964788659199996</c:v>
                </c:pt>
                <c:pt idx="233">
                  <c:v>4.1549376239980003</c:v>
                </c:pt>
                <c:pt idx="234">
                  <c:v>4.1526945796949999</c:v>
                </c:pt>
                <c:pt idx="235">
                  <c:v>3.1123560535319998</c:v>
                </c:pt>
                <c:pt idx="236">
                  <c:v>2.0746672752349999</c:v>
                </c:pt>
                <c:pt idx="237">
                  <c:v>2.0744736023230002</c:v>
                </c:pt>
                <c:pt idx="238">
                  <c:v>6.2206785723540001</c:v>
                </c:pt>
                <c:pt idx="239">
                  <c:v>5.1810250139880001</c:v>
                </c:pt>
                <c:pt idx="240">
                  <c:v>5.1785298153849997</c:v>
                </c:pt>
                <c:pt idx="241">
                  <c:v>9.3161915408980001</c:v>
                </c:pt>
                <c:pt idx="242">
                  <c:v>2.0688727746679998</c:v>
                </c:pt>
                <c:pt idx="243">
                  <c:v>3.6202277640429998</c:v>
                </c:pt>
                <c:pt idx="244">
                  <c:v>5.1714330040850003</c:v>
                </c:pt>
                <c:pt idx="245">
                  <c:v>5.1688134471850002</c:v>
                </c:pt>
                <c:pt idx="246">
                  <c:v>6.200140536518</c:v>
                </c:pt>
                <c:pt idx="247">
                  <c:v>7.2310314549859998</c:v>
                </c:pt>
                <c:pt idx="248">
                  <c:v>10.325032007599001</c:v>
                </c:pt>
                <c:pt idx="249">
                  <c:v>8.254826493865</c:v>
                </c:pt>
                <c:pt idx="250">
                  <c:v>4.1270299828720001</c:v>
                </c:pt>
                <c:pt idx="251">
                  <c:v>2.5792074611309999</c:v>
                </c:pt>
                <c:pt idx="252">
                  <c:v>10.828370330265001</c:v>
                </c:pt>
                <c:pt idx="253">
                  <c:v>17.015747300683</c:v>
                </c:pt>
                <c:pt idx="254">
                  <c:v>16.491360073386002</c:v>
                </c:pt>
                <c:pt idx="255">
                  <c:v>11.333546266626</c:v>
                </c:pt>
                <c:pt idx="256">
                  <c:v>12.87372421393</c:v>
                </c:pt>
                <c:pt idx="257">
                  <c:v>7.7237572474579999</c:v>
                </c:pt>
                <c:pt idx="258">
                  <c:v>8.2383774515599999</c:v>
                </c:pt>
                <c:pt idx="259">
                  <c:v>20.588416956620001</c:v>
                </c:pt>
                <c:pt idx="260">
                  <c:v>29.842605979839998</c:v>
                </c:pt>
                <c:pt idx="261">
                  <c:v>24.175835480867001</c:v>
                </c:pt>
                <c:pt idx="262">
                  <c:v>31.881032328395001</c:v>
                </c:pt>
                <c:pt idx="263">
                  <c:v>27.754078307617</c:v>
                </c:pt>
                <c:pt idx="264">
                  <c:v>22.098993210983</c:v>
                </c:pt>
                <c:pt idx="265">
                  <c:v>13.361907258084999</c:v>
                </c:pt>
                <c:pt idx="266">
                  <c:v>54.455038632253</c:v>
                </c:pt>
                <c:pt idx="267">
                  <c:v>45.195883065924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248-4A88-BB71-0570AF2D8D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W$1</c:f>
              <c:strCache>
                <c:ptCount val="22"/>
                <c:pt idx="0">
                  <c:v>01.06 - 01.06</c:v>
                </c:pt>
                <c:pt idx="1">
                  <c:v>02.06 - 08.06</c:v>
                </c:pt>
                <c:pt idx="2">
                  <c:v>09.06 - 15.06</c:v>
                </c:pt>
                <c:pt idx="3">
                  <c:v>16.06 - 22.06</c:v>
                </c:pt>
                <c:pt idx="4">
                  <c:v>23.06 - 28.06</c:v>
                </c:pt>
                <c:pt idx="5">
                  <c:v>30.06 - 06.07</c:v>
                </c:pt>
                <c:pt idx="6">
                  <c:v>07.07 - 13.07</c:v>
                </c:pt>
                <c:pt idx="7">
                  <c:v>14.07 - 20.07</c:v>
                </c:pt>
                <c:pt idx="8">
                  <c:v>21.07 - 27.07</c:v>
                </c:pt>
                <c:pt idx="9">
                  <c:v>28.07 - 03.08</c:v>
                </c:pt>
                <c:pt idx="10">
                  <c:v>04.08 - 10.08</c:v>
                </c:pt>
                <c:pt idx="11">
                  <c:v>11.08 - 17.08</c:v>
                </c:pt>
                <c:pt idx="12">
                  <c:v>18.08 - 24.08</c:v>
                </c:pt>
                <c:pt idx="13">
                  <c:v>25.08 - 31.08</c:v>
                </c:pt>
                <c:pt idx="14">
                  <c:v>01.09 - 07.09</c:v>
                </c:pt>
                <c:pt idx="15">
                  <c:v>08.09 - 14.09</c:v>
                </c:pt>
                <c:pt idx="16">
                  <c:v>15.09 - 21.09</c:v>
                </c:pt>
                <c:pt idx="17">
                  <c:v>22.09 - 28.09</c:v>
                </c:pt>
                <c:pt idx="18">
                  <c:v>29.09 - 05.10</c:v>
                </c:pt>
                <c:pt idx="19">
                  <c:v>06.10 - 12.10</c:v>
                </c:pt>
                <c:pt idx="20">
                  <c:v>13.10 - 19.10</c:v>
                </c:pt>
                <c:pt idx="21">
                  <c:v>20.10 - 26.10</c:v>
                </c:pt>
              </c:strCache>
            </c:strRef>
          </c:cat>
          <c:val>
            <c:numRef>
              <c:f>List1!$B$2:$W$2</c:f>
              <c:numCache>
                <c:formatCode>General</c:formatCode>
                <c:ptCount val="22"/>
                <c:pt idx="0">
                  <c:v>0</c:v>
                </c:pt>
                <c:pt idx="1">
                  <c:v>1.3211174000000001</c:v>
                </c:pt>
                <c:pt idx="2">
                  <c:v>0.84937470000000004</c:v>
                </c:pt>
                <c:pt idx="3">
                  <c:v>1.6989369999999999</c:v>
                </c:pt>
                <c:pt idx="4">
                  <c:v>1.3215233</c:v>
                </c:pt>
                <c:pt idx="5">
                  <c:v>1.1328202999999999</c:v>
                </c:pt>
                <c:pt idx="6">
                  <c:v>0.28320020000000001</c:v>
                </c:pt>
                <c:pt idx="7">
                  <c:v>2.2655637</c:v>
                </c:pt>
                <c:pt idx="8">
                  <c:v>1.4159531999999999</c:v>
                </c:pt>
                <c:pt idx="9">
                  <c:v>5.0970275000000003</c:v>
                </c:pt>
                <c:pt idx="10">
                  <c:v>3.3964699</c:v>
                </c:pt>
                <c:pt idx="11">
                  <c:v>7.6380794999999999</c:v>
                </c:pt>
                <c:pt idx="12">
                  <c:v>5.0894038000000004</c:v>
                </c:pt>
                <c:pt idx="13">
                  <c:v>7.6301361999999999</c:v>
                </c:pt>
                <c:pt idx="14">
                  <c:v>14.1065609</c:v>
                </c:pt>
                <c:pt idx="15">
                  <c:v>28.705629299999998</c:v>
                </c:pt>
                <c:pt idx="16">
                  <c:v>46.881535599999999</c:v>
                </c:pt>
                <c:pt idx="17">
                  <c:v>47.605046100000003</c:v>
                </c:pt>
                <c:pt idx="18">
                  <c:v>92.761786599999994</c:v>
                </c:pt>
                <c:pt idx="19">
                  <c:v>162.7268895</c:v>
                </c:pt>
                <c:pt idx="20">
                  <c:v>268.83594590000001</c:v>
                </c:pt>
                <c:pt idx="21">
                  <c:v>312.902272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W$1</c:f>
              <c:strCache>
                <c:ptCount val="22"/>
                <c:pt idx="0">
                  <c:v>01.06 - 01.06</c:v>
                </c:pt>
                <c:pt idx="1">
                  <c:v>02.06 - 08.06</c:v>
                </c:pt>
                <c:pt idx="2">
                  <c:v>09.06 - 15.06</c:v>
                </c:pt>
                <c:pt idx="3">
                  <c:v>16.06 - 22.06</c:v>
                </c:pt>
                <c:pt idx="4">
                  <c:v>23.06 - 28.06</c:v>
                </c:pt>
                <c:pt idx="5">
                  <c:v>30.06 - 06.07</c:v>
                </c:pt>
                <c:pt idx="6">
                  <c:v>07.07 - 13.07</c:v>
                </c:pt>
                <c:pt idx="7">
                  <c:v>14.07 - 20.07</c:v>
                </c:pt>
                <c:pt idx="8">
                  <c:v>21.07 - 27.07</c:v>
                </c:pt>
                <c:pt idx="9">
                  <c:v>28.07 - 03.08</c:v>
                </c:pt>
                <c:pt idx="10">
                  <c:v>04.08 - 10.08</c:v>
                </c:pt>
                <c:pt idx="11">
                  <c:v>11.08 - 17.08</c:v>
                </c:pt>
                <c:pt idx="12">
                  <c:v>18.08 - 24.08</c:v>
                </c:pt>
                <c:pt idx="13">
                  <c:v>25.08 - 31.08</c:v>
                </c:pt>
                <c:pt idx="14">
                  <c:v>01.09 - 07.09</c:v>
                </c:pt>
                <c:pt idx="15">
                  <c:v>08.09 - 14.09</c:v>
                </c:pt>
                <c:pt idx="16">
                  <c:v>15.09 - 21.09</c:v>
                </c:pt>
                <c:pt idx="17">
                  <c:v>22.09 - 28.09</c:v>
                </c:pt>
                <c:pt idx="18">
                  <c:v>29.09 - 05.10</c:v>
                </c:pt>
                <c:pt idx="19">
                  <c:v>06.10 - 12.10</c:v>
                </c:pt>
                <c:pt idx="20">
                  <c:v>13.10 - 19.10</c:v>
                </c:pt>
                <c:pt idx="21">
                  <c:v>20.10 - 26.10</c:v>
                </c:pt>
              </c:strCache>
            </c:strRef>
          </c:cat>
          <c:val>
            <c:numRef>
              <c:f>List1!$B$3:$W$3</c:f>
              <c:numCache>
                <c:formatCode>General</c:formatCode>
                <c:ptCount val="22"/>
                <c:pt idx="0">
                  <c:v>1.952248</c:v>
                </c:pt>
                <c:pt idx="1">
                  <c:v>0</c:v>
                </c:pt>
                <c:pt idx="2">
                  <c:v>0.27901239999999999</c:v>
                </c:pt>
                <c:pt idx="3">
                  <c:v>0.27908319999999998</c:v>
                </c:pt>
                <c:pt idx="4">
                  <c:v>0</c:v>
                </c:pt>
                <c:pt idx="5">
                  <c:v>0.55832850000000001</c:v>
                </c:pt>
                <c:pt idx="6">
                  <c:v>1.3952917</c:v>
                </c:pt>
                <c:pt idx="7">
                  <c:v>2.5105582000000002</c:v>
                </c:pt>
                <c:pt idx="8">
                  <c:v>3.0672964</c:v>
                </c:pt>
                <c:pt idx="9">
                  <c:v>1.3936621</c:v>
                </c:pt>
                <c:pt idx="10">
                  <c:v>3.6216843999999999</c:v>
                </c:pt>
                <c:pt idx="11">
                  <c:v>2.2275621000000001</c:v>
                </c:pt>
                <c:pt idx="12">
                  <c:v>1.1131983000000001</c:v>
                </c:pt>
                <c:pt idx="13">
                  <c:v>2.2252323999999999</c:v>
                </c:pt>
                <c:pt idx="14">
                  <c:v>3.3330185000000001</c:v>
                </c:pt>
                <c:pt idx="15">
                  <c:v>3.3258961999999999</c:v>
                </c:pt>
                <c:pt idx="16">
                  <c:v>2.2125300999999999</c:v>
                </c:pt>
                <c:pt idx="17">
                  <c:v>5.5195404999999997</c:v>
                </c:pt>
                <c:pt idx="18">
                  <c:v>6.0615578000000001</c:v>
                </c:pt>
                <c:pt idx="19">
                  <c:v>8.8171757999999993</c:v>
                </c:pt>
                <c:pt idx="20">
                  <c:v>18.188582499999999</c:v>
                </c:pt>
                <c:pt idx="21">
                  <c:v>31.1464655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W$1</c:f>
              <c:strCache>
                <c:ptCount val="22"/>
                <c:pt idx="0">
                  <c:v>01.06 - 01.06</c:v>
                </c:pt>
                <c:pt idx="1">
                  <c:v>02.06 - 08.06</c:v>
                </c:pt>
                <c:pt idx="2">
                  <c:v>09.06 - 15.06</c:v>
                </c:pt>
                <c:pt idx="3">
                  <c:v>16.06 - 22.06</c:v>
                </c:pt>
                <c:pt idx="4">
                  <c:v>23.06 - 28.06</c:v>
                </c:pt>
                <c:pt idx="5">
                  <c:v>30.06 - 06.07</c:v>
                </c:pt>
                <c:pt idx="6">
                  <c:v>07.07 - 13.07</c:v>
                </c:pt>
                <c:pt idx="7">
                  <c:v>14.07 - 20.07</c:v>
                </c:pt>
                <c:pt idx="8">
                  <c:v>21.07 - 27.07</c:v>
                </c:pt>
                <c:pt idx="9">
                  <c:v>28.07 - 03.08</c:v>
                </c:pt>
                <c:pt idx="10">
                  <c:v>04.08 - 10.08</c:v>
                </c:pt>
                <c:pt idx="11">
                  <c:v>11.08 - 17.08</c:v>
                </c:pt>
                <c:pt idx="12">
                  <c:v>18.08 - 24.08</c:v>
                </c:pt>
                <c:pt idx="13">
                  <c:v>25.08 - 31.08</c:v>
                </c:pt>
                <c:pt idx="14">
                  <c:v>01.09 - 07.09</c:v>
                </c:pt>
                <c:pt idx="15">
                  <c:v>08.09 - 14.09</c:v>
                </c:pt>
                <c:pt idx="16">
                  <c:v>15.09 - 21.09</c:v>
                </c:pt>
                <c:pt idx="17">
                  <c:v>22.09 - 28.09</c:v>
                </c:pt>
                <c:pt idx="18">
                  <c:v>29.09 - 05.10</c:v>
                </c:pt>
                <c:pt idx="19">
                  <c:v>06.10 - 12.10</c:v>
                </c:pt>
                <c:pt idx="20">
                  <c:v>13.10 - 19.10</c:v>
                </c:pt>
                <c:pt idx="21">
                  <c:v>20.10 - 26.10</c:v>
                </c:pt>
              </c:strCache>
            </c:strRef>
          </c:cat>
          <c:val>
            <c:numRef>
              <c:f>List1!$B$2:$W$2</c:f>
              <c:numCache>
                <c:formatCode>General</c:formatCode>
                <c:ptCount val="22"/>
                <c:pt idx="0">
                  <c:v>0</c:v>
                </c:pt>
                <c:pt idx="1">
                  <c:v>1.646695</c:v>
                </c:pt>
                <c:pt idx="2">
                  <c:v>2.8230404999999998</c:v>
                </c:pt>
                <c:pt idx="3">
                  <c:v>1.693908</c:v>
                </c:pt>
                <c:pt idx="4">
                  <c:v>1.3175447</c:v>
                </c:pt>
                <c:pt idx="5">
                  <c:v>1.9763096</c:v>
                </c:pt>
                <c:pt idx="6">
                  <c:v>2.3995742</c:v>
                </c:pt>
                <c:pt idx="7">
                  <c:v>2.8227616000000002</c:v>
                </c:pt>
                <c:pt idx="8">
                  <c:v>4.9393517999999998</c:v>
                </c:pt>
                <c:pt idx="9">
                  <c:v>3.5277997000000001</c:v>
                </c:pt>
                <c:pt idx="10">
                  <c:v>4.0921091000000001</c:v>
                </c:pt>
                <c:pt idx="11">
                  <c:v>5.2208193999999999</c:v>
                </c:pt>
                <c:pt idx="12">
                  <c:v>4.2329892999999998</c:v>
                </c:pt>
                <c:pt idx="13">
                  <c:v>8.4657397999999997</c:v>
                </c:pt>
                <c:pt idx="14">
                  <c:v>13.253119</c:v>
                </c:pt>
                <c:pt idx="15">
                  <c:v>24.219314300000001</c:v>
                </c:pt>
                <c:pt idx="16">
                  <c:v>39.798168400000002</c:v>
                </c:pt>
                <c:pt idx="17">
                  <c:v>50.000140399999999</c:v>
                </c:pt>
                <c:pt idx="18">
                  <c:v>83.876614399999994</c:v>
                </c:pt>
                <c:pt idx="19">
                  <c:v>167.1477008</c:v>
                </c:pt>
                <c:pt idx="20">
                  <c:v>314.91125799999998</c:v>
                </c:pt>
                <c:pt idx="21">
                  <c:v>442.0924590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W$1</c:f>
              <c:strCache>
                <c:ptCount val="22"/>
                <c:pt idx="0">
                  <c:v>01.06 - 01.06</c:v>
                </c:pt>
                <c:pt idx="1">
                  <c:v>02.06 - 08.06</c:v>
                </c:pt>
                <c:pt idx="2">
                  <c:v>09.06 - 15.06</c:v>
                </c:pt>
                <c:pt idx="3">
                  <c:v>16.06 - 22.06</c:v>
                </c:pt>
                <c:pt idx="4">
                  <c:v>23.06 - 28.06</c:v>
                </c:pt>
                <c:pt idx="5">
                  <c:v>30.06 - 06.07</c:v>
                </c:pt>
                <c:pt idx="6">
                  <c:v>07.07 - 13.07</c:v>
                </c:pt>
                <c:pt idx="7">
                  <c:v>14.07 - 20.07</c:v>
                </c:pt>
                <c:pt idx="8">
                  <c:v>21.07 - 27.07</c:v>
                </c:pt>
                <c:pt idx="9">
                  <c:v>28.07 - 03.08</c:v>
                </c:pt>
                <c:pt idx="10">
                  <c:v>04.08 - 10.08</c:v>
                </c:pt>
                <c:pt idx="11">
                  <c:v>11.08 - 17.08</c:v>
                </c:pt>
                <c:pt idx="12">
                  <c:v>18.08 - 24.08</c:v>
                </c:pt>
                <c:pt idx="13">
                  <c:v>25.08 - 31.08</c:v>
                </c:pt>
                <c:pt idx="14">
                  <c:v>01.09 - 07.09</c:v>
                </c:pt>
                <c:pt idx="15">
                  <c:v>08.09 - 14.09</c:v>
                </c:pt>
                <c:pt idx="16">
                  <c:v>15.09 - 21.09</c:v>
                </c:pt>
                <c:pt idx="17">
                  <c:v>22.09 - 28.09</c:v>
                </c:pt>
                <c:pt idx="18">
                  <c:v>29.09 - 05.10</c:v>
                </c:pt>
                <c:pt idx="19">
                  <c:v>06.10 - 12.10</c:v>
                </c:pt>
                <c:pt idx="20">
                  <c:v>13.10 - 19.10</c:v>
                </c:pt>
                <c:pt idx="21">
                  <c:v>20.10 - 26.10</c:v>
                </c:pt>
              </c:strCache>
            </c:strRef>
          </c:cat>
          <c:val>
            <c:numRef>
              <c:f>List1!$B$3:$W$3</c:f>
              <c:numCache>
                <c:formatCode>General</c:formatCode>
                <c:ptCount val="22"/>
                <c:pt idx="0">
                  <c:v>0.96817600000000004</c:v>
                </c:pt>
                <c:pt idx="1">
                  <c:v>1.2448942000000001</c:v>
                </c:pt>
                <c:pt idx="2">
                  <c:v>0.8300419</c:v>
                </c:pt>
                <c:pt idx="3">
                  <c:v>0.83015450000000002</c:v>
                </c:pt>
                <c:pt idx="4">
                  <c:v>0.69188919999999998</c:v>
                </c:pt>
                <c:pt idx="5">
                  <c:v>1.106695</c:v>
                </c:pt>
                <c:pt idx="6">
                  <c:v>0.82926529999999998</c:v>
                </c:pt>
                <c:pt idx="7">
                  <c:v>1.2427608999999999</c:v>
                </c:pt>
                <c:pt idx="8">
                  <c:v>1.7934620999999999</c:v>
                </c:pt>
                <c:pt idx="9">
                  <c:v>0.68926909999999997</c:v>
                </c:pt>
                <c:pt idx="10">
                  <c:v>0.82729180000000002</c:v>
                </c:pt>
                <c:pt idx="11">
                  <c:v>2.0689739999999999</c:v>
                </c:pt>
                <c:pt idx="12">
                  <c:v>1.2418315</c:v>
                </c:pt>
                <c:pt idx="13">
                  <c:v>1.1042479000000001</c:v>
                </c:pt>
                <c:pt idx="14">
                  <c:v>2.7599645000000002</c:v>
                </c:pt>
                <c:pt idx="15">
                  <c:v>1.9306509999999999</c:v>
                </c:pt>
                <c:pt idx="16">
                  <c:v>4.9611377000000001</c:v>
                </c:pt>
                <c:pt idx="17">
                  <c:v>5.7840404000000003</c:v>
                </c:pt>
                <c:pt idx="18">
                  <c:v>9.4987940000000002</c:v>
                </c:pt>
                <c:pt idx="19">
                  <c:v>9.2279891000000003</c:v>
                </c:pt>
                <c:pt idx="20">
                  <c:v>18.0526558</c:v>
                </c:pt>
                <c:pt idx="21">
                  <c:v>36.5387716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564406152739097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9.04.21</c:v>
                </c:pt>
                <c:pt idx="1">
                  <c:v>30.04.21</c:v>
                </c:pt>
                <c:pt idx="2">
                  <c:v>01.05.21</c:v>
                </c:pt>
                <c:pt idx="3">
                  <c:v>02.05.21</c:v>
                </c:pt>
                <c:pt idx="4">
                  <c:v>03.05.21</c:v>
                </c:pt>
                <c:pt idx="5">
                  <c:v>04.05.21</c:v>
                </c:pt>
                <c:pt idx="6">
                  <c:v>05.05.21</c:v>
                </c:pt>
                <c:pt idx="7">
                  <c:v>06.05.21</c:v>
                </c:pt>
                <c:pt idx="8">
                  <c:v>07.05.21</c:v>
                </c:pt>
                <c:pt idx="9">
                  <c:v>08.05.21</c:v>
                </c:pt>
                <c:pt idx="10">
                  <c:v>09.05.21</c:v>
                </c:pt>
                <c:pt idx="11">
                  <c:v>10.05.21</c:v>
                </c:pt>
                <c:pt idx="12">
                  <c:v>11.05.21</c:v>
                </c:pt>
                <c:pt idx="13">
                  <c:v>12.05.21</c:v>
                </c:pt>
                <c:pt idx="14">
                  <c:v>13.05.21</c:v>
                </c:pt>
                <c:pt idx="15">
                  <c:v>14.05.21</c:v>
                </c:pt>
                <c:pt idx="16">
                  <c:v>15.05.21</c:v>
                </c:pt>
                <c:pt idx="17">
                  <c:v>16.05.21</c:v>
                </c:pt>
                <c:pt idx="18">
                  <c:v>17.05.21</c:v>
                </c:pt>
                <c:pt idx="19">
                  <c:v>18.05.21</c:v>
                </c:pt>
                <c:pt idx="20">
                  <c:v>19.05.21</c:v>
                </c:pt>
                <c:pt idx="21">
                  <c:v>20.05.21</c:v>
                </c:pt>
                <c:pt idx="22">
                  <c:v>21.05.21</c:v>
                </c:pt>
                <c:pt idx="23">
                  <c:v>22.05.21</c:v>
                </c:pt>
                <c:pt idx="24">
                  <c:v>23.05.21</c:v>
                </c:pt>
                <c:pt idx="25">
                  <c:v>24.05.21</c:v>
                </c:pt>
                <c:pt idx="26">
                  <c:v>25.05.21</c:v>
                </c:pt>
                <c:pt idx="27">
                  <c:v>26.05.21</c:v>
                </c:pt>
                <c:pt idx="28">
                  <c:v>27.05.21</c:v>
                </c:pt>
                <c:pt idx="29">
                  <c:v>28.05.21</c:v>
                </c:pt>
                <c:pt idx="30">
                  <c:v>29.05.21</c:v>
                </c:pt>
                <c:pt idx="31">
                  <c:v>30.05.21</c:v>
                </c:pt>
                <c:pt idx="32">
                  <c:v>31.05.21</c:v>
                </c:pt>
                <c:pt idx="33">
                  <c:v>01.06.21</c:v>
                </c:pt>
                <c:pt idx="34">
                  <c:v>02.06.21</c:v>
                </c:pt>
                <c:pt idx="35">
                  <c:v>03.06.21</c:v>
                </c:pt>
                <c:pt idx="36">
                  <c:v>04.06.21</c:v>
                </c:pt>
                <c:pt idx="37">
                  <c:v>05.06.21</c:v>
                </c:pt>
                <c:pt idx="38">
                  <c:v>06.06.21</c:v>
                </c:pt>
                <c:pt idx="39">
                  <c:v>07.06.21</c:v>
                </c:pt>
                <c:pt idx="40">
                  <c:v>08.06.21</c:v>
                </c:pt>
                <c:pt idx="41">
                  <c:v>09.06.21</c:v>
                </c:pt>
                <c:pt idx="42">
                  <c:v>10.06.21</c:v>
                </c:pt>
                <c:pt idx="43">
                  <c:v>11.06.21</c:v>
                </c:pt>
                <c:pt idx="44">
                  <c:v>12.06.21</c:v>
                </c:pt>
                <c:pt idx="45">
                  <c:v>13.06.21</c:v>
                </c:pt>
                <c:pt idx="46">
                  <c:v>14.06.21</c:v>
                </c:pt>
                <c:pt idx="47">
                  <c:v>15.06.21</c:v>
                </c:pt>
                <c:pt idx="48">
                  <c:v>16.06.21</c:v>
                </c:pt>
                <c:pt idx="49">
                  <c:v>17.06.21</c:v>
                </c:pt>
                <c:pt idx="50">
                  <c:v>18.06.21</c:v>
                </c:pt>
                <c:pt idx="51">
                  <c:v>19.06.21</c:v>
                </c:pt>
                <c:pt idx="52">
                  <c:v>20.06.21</c:v>
                </c:pt>
                <c:pt idx="53">
                  <c:v>21.06.21</c:v>
                </c:pt>
                <c:pt idx="54">
                  <c:v>22.06.21</c:v>
                </c:pt>
                <c:pt idx="55">
                  <c:v>23.06.21</c:v>
                </c:pt>
                <c:pt idx="56">
                  <c:v>24.06.21</c:v>
                </c:pt>
                <c:pt idx="57">
                  <c:v>25.06.21</c:v>
                </c:pt>
                <c:pt idx="58">
                  <c:v>26.06.21</c:v>
                </c:pt>
                <c:pt idx="59">
                  <c:v>27.06.21</c:v>
                </c:pt>
                <c:pt idx="60">
                  <c:v>28.06.21</c:v>
                </c:pt>
                <c:pt idx="61">
                  <c:v>29.06.21</c:v>
                </c:pt>
                <c:pt idx="62">
                  <c:v>30.06.21</c:v>
                </c:pt>
                <c:pt idx="63">
                  <c:v>01.07.21</c:v>
                </c:pt>
                <c:pt idx="64">
                  <c:v>02.07.21</c:v>
                </c:pt>
                <c:pt idx="65">
                  <c:v>03.07.21</c:v>
                </c:pt>
                <c:pt idx="66">
                  <c:v>04.07.21</c:v>
                </c:pt>
                <c:pt idx="67">
                  <c:v>05.07.21</c:v>
                </c:pt>
                <c:pt idx="68">
                  <c:v>06.07.21</c:v>
                </c:pt>
                <c:pt idx="69">
                  <c:v>07.07.21</c:v>
                </c:pt>
                <c:pt idx="70">
                  <c:v>08.07.21</c:v>
                </c:pt>
                <c:pt idx="71">
                  <c:v>09.07.21</c:v>
                </c:pt>
                <c:pt idx="72">
                  <c:v>10.07.21</c:v>
                </c:pt>
                <c:pt idx="73">
                  <c:v>11.07.21</c:v>
                </c:pt>
                <c:pt idx="74">
                  <c:v>12.07.21</c:v>
                </c:pt>
                <c:pt idx="75">
                  <c:v>13.07.21</c:v>
                </c:pt>
                <c:pt idx="76">
                  <c:v>14.07.21</c:v>
                </c:pt>
                <c:pt idx="77">
                  <c:v>15.07.21</c:v>
                </c:pt>
                <c:pt idx="78">
                  <c:v>16.07.21</c:v>
                </c:pt>
                <c:pt idx="79">
                  <c:v>17.07.21</c:v>
                </c:pt>
                <c:pt idx="80">
                  <c:v>18.07.21</c:v>
                </c:pt>
                <c:pt idx="81">
                  <c:v>19.07.21</c:v>
                </c:pt>
                <c:pt idx="82">
                  <c:v>20.07.21</c:v>
                </c:pt>
                <c:pt idx="83">
                  <c:v>21.07.21</c:v>
                </c:pt>
                <c:pt idx="84">
                  <c:v>22.07.21</c:v>
                </c:pt>
                <c:pt idx="85">
                  <c:v>23.07.21</c:v>
                </c:pt>
                <c:pt idx="86">
                  <c:v>24.07.21</c:v>
                </c:pt>
                <c:pt idx="87">
                  <c:v>25.07.21</c:v>
                </c:pt>
                <c:pt idx="88">
                  <c:v>26.07.21</c:v>
                </c:pt>
                <c:pt idx="89">
                  <c:v>27.07.21</c:v>
                </c:pt>
                <c:pt idx="90">
                  <c:v>28.07.21</c:v>
                </c:pt>
                <c:pt idx="91">
                  <c:v>29.07.21</c:v>
                </c:pt>
                <c:pt idx="92">
                  <c:v>30.07.21</c:v>
                </c:pt>
                <c:pt idx="93">
                  <c:v>31.07.21</c:v>
                </c:pt>
                <c:pt idx="94">
                  <c:v>01.08.21</c:v>
                </c:pt>
                <c:pt idx="95">
                  <c:v>02.08.21</c:v>
                </c:pt>
                <c:pt idx="96">
                  <c:v>03.08.21</c:v>
                </c:pt>
                <c:pt idx="97">
                  <c:v>04.08.21</c:v>
                </c:pt>
                <c:pt idx="98">
                  <c:v>05.08.21</c:v>
                </c:pt>
                <c:pt idx="99">
                  <c:v>06.08.21</c:v>
                </c:pt>
                <c:pt idx="100">
                  <c:v>07.08.21</c:v>
                </c:pt>
                <c:pt idx="101">
                  <c:v>08.08.21</c:v>
                </c:pt>
                <c:pt idx="102">
                  <c:v>09.08.21</c:v>
                </c:pt>
                <c:pt idx="103">
                  <c:v>10.08.21</c:v>
                </c:pt>
                <c:pt idx="104">
                  <c:v>11.08.21</c:v>
                </c:pt>
                <c:pt idx="105">
                  <c:v>12.08.21</c:v>
                </c:pt>
                <c:pt idx="106">
                  <c:v>13.08.21</c:v>
                </c:pt>
                <c:pt idx="107">
                  <c:v>14.08.21</c:v>
                </c:pt>
                <c:pt idx="108">
                  <c:v>15.08.21</c:v>
                </c:pt>
                <c:pt idx="109">
                  <c:v>16.08.21</c:v>
                </c:pt>
                <c:pt idx="110">
                  <c:v>17.08.21</c:v>
                </c:pt>
                <c:pt idx="111">
                  <c:v>18.08.21</c:v>
                </c:pt>
                <c:pt idx="112">
                  <c:v>19.08.21</c:v>
                </c:pt>
                <c:pt idx="113">
                  <c:v>20.08.21</c:v>
                </c:pt>
                <c:pt idx="114">
                  <c:v>21.08.21</c:v>
                </c:pt>
                <c:pt idx="115">
                  <c:v>22.08.21</c:v>
                </c:pt>
                <c:pt idx="116">
                  <c:v>23.08.21</c:v>
                </c:pt>
                <c:pt idx="117">
                  <c:v>24.08.21</c:v>
                </c:pt>
                <c:pt idx="118">
                  <c:v>25.08.21</c:v>
                </c:pt>
                <c:pt idx="119">
                  <c:v>26.08.21</c:v>
                </c:pt>
                <c:pt idx="120">
                  <c:v>27.08.21</c:v>
                </c:pt>
                <c:pt idx="121">
                  <c:v>28.08.21</c:v>
                </c:pt>
                <c:pt idx="122">
                  <c:v>29.08.21</c:v>
                </c:pt>
                <c:pt idx="123">
                  <c:v>30.08.21</c:v>
                </c:pt>
                <c:pt idx="124">
                  <c:v>31.08.21</c:v>
                </c:pt>
                <c:pt idx="125">
                  <c:v>01.09.21</c:v>
                </c:pt>
                <c:pt idx="126">
                  <c:v>02.09.21</c:v>
                </c:pt>
                <c:pt idx="127">
                  <c:v>03.09.21</c:v>
                </c:pt>
                <c:pt idx="128">
                  <c:v>04.09.21</c:v>
                </c:pt>
                <c:pt idx="129">
                  <c:v>05.09.21</c:v>
                </c:pt>
                <c:pt idx="130">
                  <c:v>06.09.21</c:v>
                </c:pt>
                <c:pt idx="131">
                  <c:v>07.09.21</c:v>
                </c:pt>
                <c:pt idx="132">
                  <c:v>08.09.21</c:v>
                </c:pt>
                <c:pt idx="133">
                  <c:v>09.09.21</c:v>
                </c:pt>
                <c:pt idx="134">
                  <c:v>10.09.21</c:v>
                </c:pt>
                <c:pt idx="135">
                  <c:v>11.09.21</c:v>
                </c:pt>
                <c:pt idx="136">
                  <c:v>12.09.21</c:v>
                </c:pt>
                <c:pt idx="137">
                  <c:v>13.09.21</c:v>
                </c:pt>
                <c:pt idx="138">
                  <c:v>14.09.21</c:v>
                </c:pt>
                <c:pt idx="139">
                  <c:v>15.09.21</c:v>
                </c:pt>
                <c:pt idx="140">
                  <c:v>16.09.21</c:v>
                </c:pt>
                <c:pt idx="141">
                  <c:v>17.09.21</c:v>
                </c:pt>
                <c:pt idx="142">
                  <c:v>18.09.21</c:v>
                </c:pt>
                <c:pt idx="143">
                  <c:v>19.09.21</c:v>
                </c:pt>
                <c:pt idx="144">
                  <c:v>20.09.21</c:v>
                </c:pt>
                <c:pt idx="145">
                  <c:v>21.09.21</c:v>
                </c:pt>
                <c:pt idx="146">
                  <c:v>22.09.21</c:v>
                </c:pt>
                <c:pt idx="147">
                  <c:v>23.09.21</c:v>
                </c:pt>
                <c:pt idx="148">
                  <c:v>24.09.21</c:v>
                </c:pt>
                <c:pt idx="149">
                  <c:v>25.09.21</c:v>
                </c:pt>
                <c:pt idx="150">
                  <c:v>26.09.21</c:v>
                </c:pt>
                <c:pt idx="151">
                  <c:v>27.09.21</c:v>
                </c:pt>
                <c:pt idx="152">
                  <c:v>28.09.21</c:v>
                </c:pt>
                <c:pt idx="153">
                  <c:v>29.09.21</c:v>
                </c:pt>
                <c:pt idx="154">
                  <c:v>30.09.21</c:v>
                </c:pt>
                <c:pt idx="155">
                  <c:v>01.10.21</c:v>
                </c:pt>
                <c:pt idx="156">
                  <c:v>02.10.21</c:v>
                </c:pt>
                <c:pt idx="157">
                  <c:v>03.10.21</c:v>
                </c:pt>
                <c:pt idx="158">
                  <c:v>04.10.21</c:v>
                </c:pt>
                <c:pt idx="159">
                  <c:v>05.10.21</c:v>
                </c:pt>
                <c:pt idx="160">
                  <c:v>06.10.21</c:v>
                </c:pt>
                <c:pt idx="161">
                  <c:v>07.10.21</c:v>
                </c:pt>
                <c:pt idx="162">
                  <c:v>08.10.21</c:v>
                </c:pt>
                <c:pt idx="163">
                  <c:v>09.10.21</c:v>
                </c:pt>
                <c:pt idx="164">
                  <c:v>10.10.21</c:v>
                </c:pt>
                <c:pt idx="165">
                  <c:v>11.10.21</c:v>
                </c:pt>
                <c:pt idx="166">
                  <c:v>12.10.21</c:v>
                </c:pt>
                <c:pt idx="167">
                  <c:v>13.10.21</c:v>
                </c:pt>
                <c:pt idx="168">
                  <c:v>14.10.21</c:v>
                </c:pt>
                <c:pt idx="169">
                  <c:v>15.10.21</c:v>
                </c:pt>
                <c:pt idx="170">
                  <c:v>16.10.21</c:v>
                </c:pt>
                <c:pt idx="171">
                  <c:v>17.10.21</c:v>
                </c:pt>
                <c:pt idx="172">
                  <c:v>18.10.21</c:v>
                </c:pt>
                <c:pt idx="173">
                  <c:v>19.10.21</c:v>
                </c:pt>
                <c:pt idx="174">
                  <c:v>20.10.21</c:v>
                </c:pt>
                <c:pt idx="175">
                  <c:v>21.10.21</c:v>
                </c:pt>
                <c:pt idx="176">
                  <c:v>22.10.21</c:v>
                </c:pt>
                <c:pt idx="177">
                  <c:v>23.10.21</c:v>
                </c:pt>
                <c:pt idx="178">
                  <c:v>24.10.21</c:v>
                </c:pt>
                <c:pt idx="179">
                  <c:v>25.10.21</c:v>
                </c:pt>
                <c:pt idx="180">
                  <c:v>26.10.21</c:v>
                </c:pt>
                <c:pt idx="181">
                  <c:v>27.10.21</c:v>
                </c:pt>
                <c:pt idx="182">
                  <c:v>28.10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7</c:v>
                </c:pt>
                <c:pt idx="1">
                  <c:v>4</c:v>
                </c:pt>
                <c:pt idx="2">
                  <c:v>1</c:v>
                </c:pt>
                <c:pt idx="3">
                  <c:v>3</c:v>
                </c:pt>
                <c:pt idx="4">
                  <c:v>2</c:v>
                </c:pt>
                <c:pt idx="5">
                  <c:v>4</c:v>
                </c:pt>
                <c:pt idx="6">
                  <c:v>5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0</c:v>
                </c:pt>
                <c:pt idx="14">
                  <c:v>5</c:v>
                </c:pt>
                <c:pt idx="15">
                  <c:v>2</c:v>
                </c:pt>
                <c:pt idx="16">
                  <c:v>2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3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0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1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1</c:v>
                </c:pt>
                <c:pt idx="64">
                  <c:v>0</c:v>
                </c:pt>
                <c:pt idx="65">
                  <c:v>0</c:v>
                </c:pt>
                <c:pt idx="66">
                  <c:v>1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2</c:v>
                </c:pt>
                <c:pt idx="72">
                  <c:v>0</c:v>
                </c:pt>
                <c:pt idx="73">
                  <c:v>0</c:v>
                </c:pt>
                <c:pt idx="74">
                  <c:v>2</c:v>
                </c:pt>
                <c:pt idx="75">
                  <c:v>1</c:v>
                </c:pt>
                <c:pt idx="76">
                  <c:v>0</c:v>
                </c:pt>
                <c:pt idx="77">
                  <c:v>0</c:v>
                </c:pt>
                <c:pt idx="78">
                  <c:v>2</c:v>
                </c:pt>
                <c:pt idx="79">
                  <c:v>2</c:v>
                </c:pt>
                <c:pt idx="80">
                  <c:v>1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4</c:v>
                </c:pt>
                <c:pt idx="85">
                  <c:v>0</c:v>
                </c:pt>
                <c:pt idx="86">
                  <c:v>0</c:v>
                </c:pt>
                <c:pt idx="87">
                  <c:v>1</c:v>
                </c:pt>
                <c:pt idx="88">
                  <c:v>3</c:v>
                </c:pt>
                <c:pt idx="89">
                  <c:v>1</c:v>
                </c:pt>
                <c:pt idx="90">
                  <c:v>1</c:v>
                </c:pt>
                <c:pt idx="91">
                  <c:v>2</c:v>
                </c:pt>
                <c:pt idx="92">
                  <c:v>2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6</c:v>
                </c:pt>
                <c:pt idx="98">
                  <c:v>1</c:v>
                </c:pt>
                <c:pt idx="99">
                  <c:v>2</c:v>
                </c:pt>
                <c:pt idx="100">
                  <c:v>0</c:v>
                </c:pt>
                <c:pt idx="101">
                  <c:v>2</c:v>
                </c:pt>
                <c:pt idx="102">
                  <c:v>2</c:v>
                </c:pt>
                <c:pt idx="103">
                  <c:v>0</c:v>
                </c:pt>
                <c:pt idx="104">
                  <c:v>3</c:v>
                </c:pt>
                <c:pt idx="105">
                  <c:v>1</c:v>
                </c:pt>
                <c:pt idx="106">
                  <c:v>1</c:v>
                </c:pt>
                <c:pt idx="107">
                  <c:v>0</c:v>
                </c:pt>
                <c:pt idx="108">
                  <c:v>0</c:v>
                </c:pt>
                <c:pt idx="109">
                  <c:v>3</c:v>
                </c:pt>
                <c:pt idx="110">
                  <c:v>0</c:v>
                </c:pt>
                <c:pt idx="111">
                  <c:v>0</c:v>
                </c:pt>
                <c:pt idx="112">
                  <c:v>1</c:v>
                </c:pt>
                <c:pt idx="113">
                  <c:v>1</c:v>
                </c:pt>
                <c:pt idx="114">
                  <c:v>0</c:v>
                </c:pt>
                <c:pt idx="115">
                  <c:v>0</c:v>
                </c:pt>
                <c:pt idx="116">
                  <c:v>2</c:v>
                </c:pt>
                <c:pt idx="117">
                  <c:v>0</c:v>
                </c:pt>
                <c:pt idx="118">
                  <c:v>1</c:v>
                </c:pt>
                <c:pt idx="119">
                  <c:v>1</c:v>
                </c:pt>
                <c:pt idx="120">
                  <c:v>1</c:v>
                </c:pt>
                <c:pt idx="121">
                  <c:v>1</c:v>
                </c:pt>
                <c:pt idx="122">
                  <c:v>0</c:v>
                </c:pt>
                <c:pt idx="123">
                  <c:v>0</c:v>
                </c:pt>
                <c:pt idx="124">
                  <c:v>4</c:v>
                </c:pt>
                <c:pt idx="125">
                  <c:v>4</c:v>
                </c:pt>
                <c:pt idx="126">
                  <c:v>1</c:v>
                </c:pt>
                <c:pt idx="127">
                  <c:v>1</c:v>
                </c:pt>
                <c:pt idx="128">
                  <c:v>3</c:v>
                </c:pt>
                <c:pt idx="129">
                  <c:v>1</c:v>
                </c:pt>
                <c:pt idx="130">
                  <c:v>0</c:v>
                </c:pt>
                <c:pt idx="131">
                  <c:v>2</c:v>
                </c:pt>
                <c:pt idx="132">
                  <c:v>0</c:v>
                </c:pt>
                <c:pt idx="133">
                  <c:v>0</c:v>
                </c:pt>
                <c:pt idx="134">
                  <c:v>3</c:v>
                </c:pt>
                <c:pt idx="135">
                  <c:v>3</c:v>
                </c:pt>
                <c:pt idx="136">
                  <c:v>0</c:v>
                </c:pt>
                <c:pt idx="137">
                  <c:v>4</c:v>
                </c:pt>
                <c:pt idx="138">
                  <c:v>2</c:v>
                </c:pt>
                <c:pt idx="139">
                  <c:v>0</c:v>
                </c:pt>
                <c:pt idx="140">
                  <c:v>1</c:v>
                </c:pt>
                <c:pt idx="141">
                  <c:v>2</c:v>
                </c:pt>
                <c:pt idx="142">
                  <c:v>1</c:v>
                </c:pt>
                <c:pt idx="143">
                  <c:v>1</c:v>
                </c:pt>
                <c:pt idx="144">
                  <c:v>0</c:v>
                </c:pt>
                <c:pt idx="145">
                  <c:v>3</c:v>
                </c:pt>
                <c:pt idx="146">
                  <c:v>3</c:v>
                </c:pt>
                <c:pt idx="147">
                  <c:v>2</c:v>
                </c:pt>
                <c:pt idx="148">
                  <c:v>3</c:v>
                </c:pt>
                <c:pt idx="149">
                  <c:v>0</c:v>
                </c:pt>
                <c:pt idx="150">
                  <c:v>2</c:v>
                </c:pt>
                <c:pt idx="151">
                  <c:v>6</c:v>
                </c:pt>
                <c:pt idx="152">
                  <c:v>4</c:v>
                </c:pt>
                <c:pt idx="153">
                  <c:v>3</c:v>
                </c:pt>
                <c:pt idx="154">
                  <c:v>9</c:v>
                </c:pt>
                <c:pt idx="155">
                  <c:v>2</c:v>
                </c:pt>
                <c:pt idx="156">
                  <c:v>5</c:v>
                </c:pt>
                <c:pt idx="157">
                  <c:v>1</c:v>
                </c:pt>
                <c:pt idx="158">
                  <c:v>0</c:v>
                </c:pt>
                <c:pt idx="159">
                  <c:v>2</c:v>
                </c:pt>
                <c:pt idx="160">
                  <c:v>5</c:v>
                </c:pt>
                <c:pt idx="161">
                  <c:v>6</c:v>
                </c:pt>
                <c:pt idx="162">
                  <c:v>6</c:v>
                </c:pt>
                <c:pt idx="163">
                  <c:v>1</c:v>
                </c:pt>
                <c:pt idx="164">
                  <c:v>1</c:v>
                </c:pt>
                <c:pt idx="165">
                  <c:v>3</c:v>
                </c:pt>
                <c:pt idx="166">
                  <c:v>10</c:v>
                </c:pt>
                <c:pt idx="167">
                  <c:v>7</c:v>
                </c:pt>
                <c:pt idx="168">
                  <c:v>7</c:v>
                </c:pt>
                <c:pt idx="169">
                  <c:v>6</c:v>
                </c:pt>
                <c:pt idx="170">
                  <c:v>5</c:v>
                </c:pt>
                <c:pt idx="171">
                  <c:v>8</c:v>
                </c:pt>
                <c:pt idx="172">
                  <c:v>17</c:v>
                </c:pt>
                <c:pt idx="173">
                  <c:v>16</c:v>
                </c:pt>
                <c:pt idx="174">
                  <c:v>13</c:v>
                </c:pt>
                <c:pt idx="175">
                  <c:v>13</c:v>
                </c:pt>
                <c:pt idx="176">
                  <c:v>16</c:v>
                </c:pt>
                <c:pt idx="177">
                  <c:v>12</c:v>
                </c:pt>
                <c:pt idx="178">
                  <c:v>12</c:v>
                </c:pt>
                <c:pt idx="179">
                  <c:v>29</c:v>
                </c:pt>
                <c:pt idx="180">
                  <c:v>18</c:v>
                </c:pt>
                <c:pt idx="181">
                  <c:v>21</c:v>
                </c:pt>
                <c:pt idx="182">
                  <c:v>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8.6736173798840355E-19"/>
                  <c:y val="-1.398757814142048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86906347092765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9.04.21</c:v>
                </c:pt>
                <c:pt idx="1">
                  <c:v>30.04.21</c:v>
                </c:pt>
                <c:pt idx="2">
                  <c:v>01.05.21</c:v>
                </c:pt>
                <c:pt idx="3">
                  <c:v>02.05.21</c:v>
                </c:pt>
                <c:pt idx="4">
                  <c:v>03.05.21</c:v>
                </c:pt>
                <c:pt idx="5">
                  <c:v>04.05.21</c:v>
                </c:pt>
                <c:pt idx="6">
                  <c:v>05.05.21</c:v>
                </c:pt>
                <c:pt idx="7">
                  <c:v>06.05.21</c:v>
                </c:pt>
                <c:pt idx="8">
                  <c:v>07.05.21</c:v>
                </c:pt>
                <c:pt idx="9">
                  <c:v>08.05.21</c:v>
                </c:pt>
                <c:pt idx="10">
                  <c:v>09.05.21</c:v>
                </c:pt>
                <c:pt idx="11">
                  <c:v>10.05.21</c:v>
                </c:pt>
                <c:pt idx="12">
                  <c:v>11.05.21</c:v>
                </c:pt>
                <c:pt idx="13">
                  <c:v>12.05.21</c:v>
                </c:pt>
                <c:pt idx="14">
                  <c:v>13.05.21</c:v>
                </c:pt>
                <c:pt idx="15">
                  <c:v>14.05.21</c:v>
                </c:pt>
                <c:pt idx="16">
                  <c:v>15.05.21</c:v>
                </c:pt>
                <c:pt idx="17">
                  <c:v>16.05.21</c:v>
                </c:pt>
                <c:pt idx="18">
                  <c:v>17.05.21</c:v>
                </c:pt>
                <c:pt idx="19">
                  <c:v>18.05.21</c:v>
                </c:pt>
                <c:pt idx="20">
                  <c:v>19.05.21</c:v>
                </c:pt>
                <c:pt idx="21">
                  <c:v>20.05.21</c:v>
                </c:pt>
                <c:pt idx="22">
                  <c:v>21.05.21</c:v>
                </c:pt>
                <c:pt idx="23">
                  <c:v>22.05.21</c:v>
                </c:pt>
                <c:pt idx="24">
                  <c:v>23.05.21</c:v>
                </c:pt>
                <c:pt idx="25">
                  <c:v>24.05.21</c:v>
                </c:pt>
                <c:pt idx="26">
                  <c:v>25.05.21</c:v>
                </c:pt>
                <c:pt idx="27">
                  <c:v>26.05.21</c:v>
                </c:pt>
                <c:pt idx="28">
                  <c:v>27.05.21</c:v>
                </c:pt>
                <c:pt idx="29">
                  <c:v>28.05.21</c:v>
                </c:pt>
                <c:pt idx="30">
                  <c:v>29.05.21</c:v>
                </c:pt>
                <c:pt idx="31">
                  <c:v>30.05.21</c:v>
                </c:pt>
                <c:pt idx="32">
                  <c:v>31.05.21</c:v>
                </c:pt>
                <c:pt idx="33">
                  <c:v>01.06.21</c:v>
                </c:pt>
                <c:pt idx="34">
                  <c:v>02.06.21</c:v>
                </c:pt>
                <c:pt idx="35">
                  <c:v>03.06.21</c:v>
                </c:pt>
                <c:pt idx="36">
                  <c:v>04.06.21</c:v>
                </c:pt>
                <c:pt idx="37">
                  <c:v>05.06.21</c:v>
                </c:pt>
                <c:pt idx="38">
                  <c:v>06.06.21</c:v>
                </c:pt>
                <c:pt idx="39">
                  <c:v>07.06.21</c:v>
                </c:pt>
                <c:pt idx="40">
                  <c:v>08.06.21</c:v>
                </c:pt>
                <c:pt idx="41">
                  <c:v>09.06.21</c:v>
                </c:pt>
                <c:pt idx="42">
                  <c:v>10.06.21</c:v>
                </c:pt>
                <c:pt idx="43">
                  <c:v>11.06.21</c:v>
                </c:pt>
                <c:pt idx="44">
                  <c:v>12.06.21</c:v>
                </c:pt>
                <c:pt idx="45">
                  <c:v>13.06.21</c:v>
                </c:pt>
                <c:pt idx="46">
                  <c:v>14.06.21</c:v>
                </c:pt>
                <c:pt idx="47">
                  <c:v>15.06.21</c:v>
                </c:pt>
                <c:pt idx="48">
                  <c:v>16.06.21</c:v>
                </c:pt>
                <c:pt idx="49">
                  <c:v>17.06.21</c:v>
                </c:pt>
                <c:pt idx="50">
                  <c:v>18.06.21</c:v>
                </c:pt>
                <c:pt idx="51">
                  <c:v>19.06.21</c:v>
                </c:pt>
                <c:pt idx="52">
                  <c:v>20.06.21</c:v>
                </c:pt>
                <c:pt idx="53">
                  <c:v>21.06.21</c:v>
                </c:pt>
                <c:pt idx="54">
                  <c:v>22.06.21</c:v>
                </c:pt>
                <c:pt idx="55">
                  <c:v>23.06.21</c:v>
                </c:pt>
                <c:pt idx="56">
                  <c:v>24.06.21</c:v>
                </c:pt>
                <c:pt idx="57">
                  <c:v>25.06.21</c:v>
                </c:pt>
                <c:pt idx="58">
                  <c:v>26.06.21</c:v>
                </c:pt>
                <c:pt idx="59">
                  <c:v>27.06.21</c:v>
                </c:pt>
                <c:pt idx="60">
                  <c:v>28.06.21</c:v>
                </c:pt>
                <c:pt idx="61">
                  <c:v>29.06.21</c:v>
                </c:pt>
                <c:pt idx="62">
                  <c:v>30.06.21</c:v>
                </c:pt>
                <c:pt idx="63">
                  <c:v>01.07.21</c:v>
                </c:pt>
                <c:pt idx="64">
                  <c:v>02.07.21</c:v>
                </c:pt>
                <c:pt idx="65">
                  <c:v>03.07.21</c:v>
                </c:pt>
                <c:pt idx="66">
                  <c:v>04.07.21</c:v>
                </c:pt>
                <c:pt idx="67">
                  <c:v>05.07.21</c:v>
                </c:pt>
                <c:pt idx="68">
                  <c:v>06.07.21</c:v>
                </c:pt>
                <c:pt idx="69">
                  <c:v>07.07.21</c:v>
                </c:pt>
                <c:pt idx="70">
                  <c:v>08.07.21</c:v>
                </c:pt>
                <c:pt idx="71">
                  <c:v>09.07.21</c:v>
                </c:pt>
                <c:pt idx="72">
                  <c:v>10.07.21</c:v>
                </c:pt>
                <c:pt idx="73">
                  <c:v>11.07.21</c:v>
                </c:pt>
                <c:pt idx="74">
                  <c:v>12.07.21</c:v>
                </c:pt>
                <c:pt idx="75">
                  <c:v>13.07.21</c:v>
                </c:pt>
                <c:pt idx="76">
                  <c:v>14.07.21</c:v>
                </c:pt>
                <c:pt idx="77">
                  <c:v>15.07.21</c:v>
                </c:pt>
                <c:pt idx="78">
                  <c:v>16.07.21</c:v>
                </c:pt>
                <c:pt idx="79">
                  <c:v>17.07.21</c:v>
                </c:pt>
                <c:pt idx="80">
                  <c:v>18.07.21</c:v>
                </c:pt>
                <c:pt idx="81">
                  <c:v>19.07.21</c:v>
                </c:pt>
                <c:pt idx="82">
                  <c:v>20.07.21</c:v>
                </c:pt>
                <c:pt idx="83">
                  <c:v>21.07.21</c:v>
                </c:pt>
                <c:pt idx="84">
                  <c:v>22.07.21</c:v>
                </c:pt>
                <c:pt idx="85">
                  <c:v>23.07.21</c:v>
                </c:pt>
                <c:pt idx="86">
                  <c:v>24.07.21</c:v>
                </c:pt>
                <c:pt idx="87">
                  <c:v>25.07.21</c:v>
                </c:pt>
                <c:pt idx="88">
                  <c:v>26.07.21</c:v>
                </c:pt>
                <c:pt idx="89">
                  <c:v>27.07.21</c:v>
                </c:pt>
                <c:pt idx="90">
                  <c:v>28.07.21</c:v>
                </c:pt>
                <c:pt idx="91">
                  <c:v>29.07.21</c:v>
                </c:pt>
                <c:pt idx="92">
                  <c:v>30.07.21</c:v>
                </c:pt>
                <c:pt idx="93">
                  <c:v>31.07.21</c:v>
                </c:pt>
                <c:pt idx="94">
                  <c:v>01.08.21</c:v>
                </c:pt>
                <c:pt idx="95">
                  <c:v>02.08.21</c:v>
                </c:pt>
                <c:pt idx="96">
                  <c:v>03.08.21</c:v>
                </c:pt>
                <c:pt idx="97">
                  <c:v>04.08.21</c:v>
                </c:pt>
                <c:pt idx="98">
                  <c:v>05.08.21</c:v>
                </c:pt>
                <c:pt idx="99">
                  <c:v>06.08.21</c:v>
                </c:pt>
                <c:pt idx="100">
                  <c:v>07.08.21</c:v>
                </c:pt>
                <c:pt idx="101">
                  <c:v>08.08.21</c:v>
                </c:pt>
                <c:pt idx="102">
                  <c:v>09.08.21</c:v>
                </c:pt>
                <c:pt idx="103">
                  <c:v>10.08.21</c:v>
                </c:pt>
                <c:pt idx="104">
                  <c:v>11.08.21</c:v>
                </c:pt>
                <c:pt idx="105">
                  <c:v>12.08.21</c:v>
                </c:pt>
                <c:pt idx="106">
                  <c:v>13.08.21</c:v>
                </c:pt>
                <c:pt idx="107">
                  <c:v>14.08.21</c:v>
                </c:pt>
                <c:pt idx="108">
                  <c:v>15.08.21</c:v>
                </c:pt>
                <c:pt idx="109">
                  <c:v>16.08.21</c:v>
                </c:pt>
                <c:pt idx="110">
                  <c:v>17.08.21</c:v>
                </c:pt>
                <c:pt idx="111">
                  <c:v>18.08.21</c:v>
                </c:pt>
                <c:pt idx="112">
                  <c:v>19.08.21</c:v>
                </c:pt>
                <c:pt idx="113">
                  <c:v>20.08.21</c:v>
                </c:pt>
                <c:pt idx="114">
                  <c:v>21.08.21</c:v>
                </c:pt>
                <c:pt idx="115">
                  <c:v>22.08.21</c:v>
                </c:pt>
                <c:pt idx="116">
                  <c:v>23.08.21</c:v>
                </c:pt>
                <c:pt idx="117">
                  <c:v>24.08.21</c:v>
                </c:pt>
                <c:pt idx="118">
                  <c:v>25.08.21</c:v>
                </c:pt>
                <c:pt idx="119">
                  <c:v>26.08.21</c:v>
                </c:pt>
                <c:pt idx="120">
                  <c:v>27.08.21</c:v>
                </c:pt>
                <c:pt idx="121">
                  <c:v>28.08.21</c:v>
                </c:pt>
                <c:pt idx="122">
                  <c:v>29.08.21</c:v>
                </c:pt>
                <c:pt idx="123">
                  <c:v>30.08.21</c:v>
                </c:pt>
                <c:pt idx="124">
                  <c:v>31.08.21</c:v>
                </c:pt>
                <c:pt idx="125">
                  <c:v>01.09.21</c:v>
                </c:pt>
                <c:pt idx="126">
                  <c:v>02.09.21</c:v>
                </c:pt>
                <c:pt idx="127">
                  <c:v>03.09.21</c:v>
                </c:pt>
                <c:pt idx="128">
                  <c:v>04.09.21</c:v>
                </c:pt>
                <c:pt idx="129">
                  <c:v>05.09.21</c:v>
                </c:pt>
                <c:pt idx="130">
                  <c:v>06.09.21</c:v>
                </c:pt>
                <c:pt idx="131">
                  <c:v>07.09.21</c:v>
                </c:pt>
                <c:pt idx="132">
                  <c:v>08.09.21</c:v>
                </c:pt>
                <c:pt idx="133">
                  <c:v>09.09.21</c:v>
                </c:pt>
                <c:pt idx="134">
                  <c:v>10.09.21</c:v>
                </c:pt>
                <c:pt idx="135">
                  <c:v>11.09.21</c:v>
                </c:pt>
                <c:pt idx="136">
                  <c:v>12.09.21</c:v>
                </c:pt>
                <c:pt idx="137">
                  <c:v>13.09.21</c:v>
                </c:pt>
                <c:pt idx="138">
                  <c:v>14.09.21</c:v>
                </c:pt>
                <c:pt idx="139">
                  <c:v>15.09.21</c:v>
                </c:pt>
                <c:pt idx="140">
                  <c:v>16.09.21</c:v>
                </c:pt>
                <c:pt idx="141">
                  <c:v>17.09.21</c:v>
                </c:pt>
                <c:pt idx="142">
                  <c:v>18.09.21</c:v>
                </c:pt>
                <c:pt idx="143">
                  <c:v>19.09.21</c:v>
                </c:pt>
                <c:pt idx="144">
                  <c:v>20.09.21</c:v>
                </c:pt>
                <c:pt idx="145">
                  <c:v>21.09.21</c:v>
                </c:pt>
                <c:pt idx="146">
                  <c:v>22.09.21</c:v>
                </c:pt>
                <c:pt idx="147">
                  <c:v>23.09.21</c:v>
                </c:pt>
                <c:pt idx="148">
                  <c:v>24.09.21</c:v>
                </c:pt>
                <c:pt idx="149">
                  <c:v>25.09.21</c:v>
                </c:pt>
                <c:pt idx="150">
                  <c:v>26.09.21</c:v>
                </c:pt>
                <c:pt idx="151">
                  <c:v>27.09.21</c:v>
                </c:pt>
                <c:pt idx="152">
                  <c:v>28.09.21</c:v>
                </c:pt>
                <c:pt idx="153">
                  <c:v>29.09.21</c:v>
                </c:pt>
                <c:pt idx="154">
                  <c:v>30.09.21</c:v>
                </c:pt>
                <c:pt idx="155">
                  <c:v>01.10.21</c:v>
                </c:pt>
                <c:pt idx="156">
                  <c:v>02.10.21</c:v>
                </c:pt>
                <c:pt idx="157">
                  <c:v>03.10.21</c:v>
                </c:pt>
                <c:pt idx="158">
                  <c:v>04.10.21</c:v>
                </c:pt>
                <c:pt idx="159">
                  <c:v>05.10.21</c:v>
                </c:pt>
                <c:pt idx="160">
                  <c:v>06.10.21</c:v>
                </c:pt>
                <c:pt idx="161">
                  <c:v>07.10.21</c:v>
                </c:pt>
                <c:pt idx="162">
                  <c:v>08.10.21</c:v>
                </c:pt>
                <c:pt idx="163">
                  <c:v>09.10.21</c:v>
                </c:pt>
                <c:pt idx="164">
                  <c:v>10.10.21</c:v>
                </c:pt>
                <c:pt idx="165">
                  <c:v>11.10.21</c:v>
                </c:pt>
                <c:pt idx="166">
                  <c:v>12.10.21</c:v>
                </c:pt>
                <c:pt idx="167">
                  <c:v>13.10.21</c:v>
                </c:pt>
                <c:pt idx="168">
                  <c:v>14.10.21</c:v>
                </c:pt>
                <c:pt idx="169">
                  <c:v>15.10.21</c:v>
                </c:pt>
                <c:pt idx="170">
                  <c:v>16.10.21</c:v>
                </c:pt>
                <c:pt idx="171">
                  <c:v>17.10.21</c:v>
                </c:pt>
                <c:pt idx="172">
                  <c:v>18.10.21</c:v>
                </c:pt>
                <c:pt idx="173">
                  <c:v>19.10.21</c:v>
                </c:pt>
                <c:pt idx="174">
                  <c:v>20.10.21</c:v>
                </c:pt>
                <c:pt idx="175">
                  <c:v>21.10.21</c:v>
                </c:pt>
                <c:pt idx="176">
                  <c:v>22.10.21</c:v>
                </c:pt>
                <c:pt idx="177">
                  <c:v>23.10.21</c:v>
                </c:pt>
                <c:pt idx="178">
                  <c:v>24.10.21</c:v>
                </c:pt>
                <c:pt idx="179">
                  <c:v>25.10.21</c:v>
                </c:pt>
                <c:pt idx="180">
                  <c:v>26.10.21</c:v>
                </c:pt>
                <c:pt idx="181">
                  <c:v>27.10.21</c:v>
                </c:pt>
                <c:pt idx="182">
                  <c:v>28.10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5</c:v>
                </c:pt>
                <c:pt idx="1">
                  <c:v>18</c:v>
                </c:pt>
                <c:pt idx="2">
                  <c:v>5</c:v>
                </c:pt>
                <c:pt idx="3">
                  <c:v>4</c:v>
                </c:pt>
                <c:pt idx="4">
                  <c:v>18</c:v>
                </c:pt>
                <c:pt idx="5">
                  <c:v>13</c:v>
                </c:pt>
                <c:pt idx="6">
                  <c:v>11</c:v>
                </c:pt>
                <c:pt idx="7">
                  <c:v>6</c:v>
                </c:pt>
                <c:pt idx="8">
                  <c:v>14</c:v>
                </c:pt>
                <c:pt idx="9">
                  <c:v>4</c:v>
                </c:pt>
                <c:pt idx="10">
                  <c:v>3</c:v>
                </c:pt>
                <c:pt idx="11">
                  <c:v>10</c:v>
                </c:pt>
                <c:pt idx="12">
                  <c:v>19</c:v>
                </c:pt>
                <c:pt idx="13">
                  <c:v>6</c:v>
                </c:pt>
                <c:pt idx="14">
                  <c:v>9</c:v>
                </c:pt>
                <c:pt idx="15">
                  <c:v>7</c:v>
                </c:pt>
                <c:pt idx="16">
                  <c:v>1</c:v>
                </c:pt>
                <c:pt idx="17">
                  <c:v>1</c:v>
                </c:pt>
                <c:pt idx="18">
                  <c:v>7</c:v>
                </c:pt>
                <c:pt idx="19">
                  <c:v>3</c:v>
                </c:pt>
                <c:pt idx="20">
                  <c:v>2</c:v>
                </c:pt>
                <c:pt idx="21">
                  <c:v>6</c:v>
                </c:pt>
                <c:pt idx="22">
                  <c:v>3</c:v>
                </c:pt>
                <c:pt idx="23">
                  <c:v>3</c:v>
                </c:pt>
                <c:pt idx="24">
                  <c:v>0</c:v>
                </c:pt>
                <c:pt idx="25">
                  <c:v>3</c:v>
                </c:pt>
                <c:pt idx="26">
                  <c:v>4</c:v>
                </c:pt>
                <c:pt idx="27">
                  <c:v>6</c:v>
                </c:pt>
                <c:pt idx="28">
                  <c:v>2</c:v>
                </c:pt>
                <c:pt idx="29">
                  <c:v>4</c:v>
                </c:pt>
                <c:pt idx="30">
                  <c:v>0</c:v>
                </c:pt>
                <c:pt idx="31">
                  <c:v>0</c:v>
                </c:pt>
                <c:pt idx="32">
                  <c:v>3</c:v>
                </c:pt>
                <c:pt idx="33">
                  <c:v>1</c:v>
                </c:pt>
                <c:pt idx="34">
                  <c:v>0</c:v>
                </c:pt>
                <c:pt idx="35">
                  <c:v>5</c:v>
                </c:pt>
                <c:pt idx="36">
                  <c:v>1</c:v>
                </c:pt>
                <c:pt idx="37">
                  <c:v>0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2</c:v>
                </c:pt>
                <c:pt idx="50">
                  <c:v>3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1</c:v>
                </c:pt>
                <c:pt idx="57">
                  <c:v>0</c:v>
                </c:pt>
                <c:pt idx="58">
                  <c:v>0</c:v>
                </c:pt>
                <c:pt idx="59">
                  <c:v>1</c:v>
                </c:pt>
                <c:pt idx="60">
                  <c:v>1</c:v>
                </c:pt>
                <c:pt idx="61">
                  <c:v>2</c:v>
                </c:pt>
                <c:pt idx="62">
                  <c:v>0</c:v>
                </c:pt>
                <c:pt idx="63">
                  <c:v>1</c:v>
                </c:pt>
                <c:pt idx="64">
                  <c:v>2</c:v>
                </c:pt>
                <c:pt idx="65">
                  <c:v>0</c:v>
                </c:pt>
                <c:pt idx="66">
                  <c:v>1</c:v>
                </c:pt>
                <c:pt idx="67">
                  <c:v>4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2</c:v>
                </c:pt>
                <c:pt idx="75">
                  <c:v>3</c:v>
                </c:pt>
                <c:pt idx="76">
                  <c:v>2</c:v>
                </c:pt>
                <c:pt idx="77">
                  <c:v>2</c:v>
                </c:pt>
                <c:pt idx="78">
                  <c:v>0</c:v>
                </c:pt>
                <c:pt idx="79">
                  <c:v>0</c:v>
                </c:pt>
                <c:pt idx="80">
                  <c:v>1</c:v>
                </c:pt>
                <c:pt idx="81">
                  <c:v>4</c:v>
                </c:pt>
                <c:pt idx="82">
                  <c:v>0</c:v>
                </c:pt>
                <c:pt idx="83">
                  <c:v>4</c:v>
                </c:pt>
                <c:pt idx="84">
                  <c:v>0</c:v>
                </c:pt>
                <c:pt idx="85">
                  <c:v>4</c:v>
                </c:pt>
                <c:pt idx="86">
                  <c:v>1</c:v>
                </c:pt>
                <c:pt idx="87">
                  <c:v>1</c:v>
                </c:pt>
                <c:pt idx="88">
                  <c:v>3</c:v>
                </c:pt>
                <c:pt idx="89">
                  <c:v>0</c:v>
                </c:pt>
                <c:pt idx="90">
                  <c:v>0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0</c:v>
                </c:pt>
                <c:pt idx="95">
                  <c:v>0</c:v>
                </c:pt>
                <c:pt idx="96">
                  <c:v>2</c:v>
                </c:pt>
                <c:pt idx="97">
                  <c:v>1</c:v>
                </c:pt>
                <c:pt idx="98">
                  <c:v>0</c:v>
                </c:pt>
                <c:pt idx="99">
                  <c:v>1</c:v>
                </c:pt>
                <c:pt idx="100">
                  <c:v>0</c:v>
                </c:pt>
                <c:pt idx="101">
                  <c:v>0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1</c:v>
                </c:pt>
                <c:pt idx="106">
                  <c:v>2</c:v>
                </c:pt>
                <c:pt idx="107">
                  <c:v>3</c:v>
                </c:pt>
                <c:pt idx="108">
                  <c:v>1</c:v>
                </c:pt>
                <c:pt idx="109">
                  <c:v>3</c:v>
                </c:pt>
                <c:pt idx="110">
                  <c:v>3</c:v>
                </c:pt>
                <c:pt idx="111">
                  <c:v>2</c:v>
                </c:pt>
                <c:pt idx="112">
                  <c:v>1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4</c:v>
                </c:pt>
                <c:pt idx="117">
                  <c:v>2</c:v>
                </c:pt>
                <c:pt idx="118">
                  <c:v>0</c:v>
                </c:pt>
                <c:pt idx="119">
                  <c:v>2</c:v>
                </c:pt>
                <c:pt idx="120">
                  <c:v>1</c:v>
                </c:pt>
                <c:pt idx="121">
                  <c:v>2</c:v>
                </c:pt>
                <c:pt idx="122">
                  <c:v>1</c:v>
                </c:pt>
                <c:pt idx="123">
                  <c:v>0</c:v>
                </c:pt>
                <c:pt idx="124">
                  <c:v>2</c:v>
                </c:pt>
                <c:pt idx="125">
                  <c:v>1</c:v>
                </c:pt>
                <c:pt idx="126">
                  <c:v>5</c:v>
                </c:pt>
                <c:pt idx="127">
                  <c:v>6</c:v>
                </c:pt>
                <c:pt idx="128">
                  <c:v>1</c:v>
                </c:pt>
                <c:pt idx="129">
                  <c:v>0</c:v>
                </c:pt>
                <c:pt idx="130">
                  <c:v>2</c:v>
                </c:pt>
                <c:pt idx="131">
                  <c:v>5</c:v>
                </c:pt>
                <c:pt idx="132">
                  <c:v>1</c:v>
                </c:pt>
                <c:pt idx="133">
                  <c:v>4</c:v>
                </c:pt>
                <c:pt idx="134">
                  <c:v>0</c:v>
                </c:pt>
                <c:pt idx="135">
                  <c:v>1</c:v>
                </c:pt>
                <c:pt idx="136">
                  <c:v>2</c:v>
                </c:pt>
                <c:pt idx="137">
                  <c:v>3</c:v>
                </c:pt>
                <c:pt idx="138">
                  <c:v>3</c:v>
                </c:pt>
                <c:pt idx="139">
                  <c:v>3</c:v>
                </c:pt>
                <c:pt idx="140">
                  <c:v>7</c:v>
                </c:pt>
                <c:pt idx="141">
                  <c:v>5</c:v>
                </c:pt>
                <c:pt idx="142">
                  <c:v>2</c:v>
                </c:pt>
                <c:pt idx="143">
                  <c:v>2</c:v>
                </c:pt>
                <c:pt idx="144">
                  <c:v>10</c:v>
                </c:pt>
                <c:pt idx="145">
                  <c:v>7</c:v>
                </c:pt>
                <c:pt idx="146">
                  <c:v>6</c:v>
                </c:pt>
                <c:pt idx="147">
                  <c:v>5</c:v>
                </c:pt>
                <c:pt idx="148">
                  <c:v>7</c:v>
                </c:pt>
                <c:pt idx="149">
                  <c:v>6</c:v>
                </c:pt>
                <c:pt idx="150">
                  <c:v>6</c:v>
                </c:pt>
                <c:pt idx="151">
                  <c:v>5</c:v>
                </c:pt>
                <c:pt idx="152">
                  <c:v>7</c:v>
                </c:pt>
                <c:pt idx="153">
                  <c:v>12</c:v>
                </c:pt>
                <c:pt idx="154">
                  <c:v>15</c:v>
                </c:pt>
                <c:pt idx="155">
                  <c:v>7</c:v>
                </c:pt>
                <c:pt idx="156">
                  <c:v>5</c:v>
                </c:pt>
                <c:pt idx="157">
                  <c:v>8</c:v>
                </c:pt>
                <c:pt idx="158">
                  <c:v>10</c:v>
                </c:pt>
                <c:pt idx="159">
                  <c:v>12</c:v>
                </c:pt>
                <c:pt idx="160">
                  <c:v>9</c:v>
                </c:pt>
                <c:pt idx="161">
                  <c:v>8</c:v>
                </c:pt>
                <c:pt idx="162">
                  <c:v>8</c:v>
                </c:pt>
                <c:pt idx="163">
                  <c:v>5</c:v>
                </c:pt>
                <c:pt idx="164">
                  <c:v>4</c:v>
                </c:pt>
                <c:pt idx="165">
                  <c:v>16</c:v>
                </c:pt>
                <c:pt idx="166">
                  <c:v>17</c:v>
                </c:pt>
                <c:pt idx="167">
                  <c:v>20</c:v>
                </c:pt>
                <c:pt idx="168">
                  <c:v>17</c:v>
                </c:pt>
                <c:pt idx="169">
                  <c:v>17</c:v>
                </c:pt>
                <c:pt idx="170">
                  <c:v>10</c:v>
                </c:pt>
                <c:pt idx="171">
                  <c:v>10</c:v>
                </c:pt>
                <c:pt idx="172">
                  <c:v>32</c:v>
                </c:pt>
                <c:pt idx="173">
                  <c:v>25</c:v>
                </c:pt>
                <c:pt idx="174">
                  <c:v>24</c:v>
                </c:pt>
                <c:pt idx="175">
                  <c:v>48</c:v>
                </c:pt>
                <c:pt idx="176">
                  <c:v>38</c:v>
                </c:pt>
                <c:pt idx="177">
                  <c:v>31</c:v>
                </c:pt>
                <c:pt idx="178">
                  <c:v>11</c:v>
                </c:pt>
                <c:pt idx="179">
                  <c:v>58</c:v>
                </c:pt>
                <c:pt idx="180">
                  <c:v>61</c:v>
                </c:pt>
                <c:pt idx="181">
                  <c:v>62</c:v>
                </c:pt>
                <c:pt idx="182">
                  <c:v>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3.550821127385838E-3"/>
                  <c:y val="3.263798827201787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9.04.21</c:v>
                </c:pt>
                <c:pt idx="1">
                  <c:v>30.04.21</c:v>
                </c:pt>
                <c:pt idx="2">
                  <c:v>01.05.21</c:v>
                </c:pt>
                <c:pt idx="3">
                  <c:v>02.05.21</c:v>
                </c:pt>
                <c:pt idx="4">
                  <c:v>03.05.21</c:v>
                </c:pt>
                <c:pt idx="5">
                  <c:v>04.05.21</c:v>
                </c:pt>
                <c:pt idx="6">
                  <c:v>05.05.21</c:v>
                </c:pt>
                <c:pt idx="7">
                  <c:v>06.05.21</c:v>
                </c:pt>
                <c:pt idx="8">
                  <c:v>07.05.21</c:v>
                </c:pt>
                <c:pt idx="9">
                  <c:v>08.05.21</c:v>
                </c:pt>
                <c:pt idx="10">
                  <c:v>09.05.21</c:v>
                </c:pt>
                <c:pt idx="11">
                  <c:v>10.05.21</c:v>
                </c:pt>
                <c:pt idx="12">
                  <c:v>11.05.21</c:v>
                </c:pt>
                <c:pt idx="13">
                  <c:v>12.05.21</c:v>
                </c:pt>
                <c:pt idx="14">
                  <c:v>13.05.21</c:v>
                </c:pt>
                <c:pt idx="15">
                  <c:v>14.05.21</c:v>
                </c:pt>
                <c:pt idx="16">
                  <c:v>15.05.21</c:v>
                </c:pt>
                <c:pt idx="17">
                  <c:v>16.05.21</c:v>
                </c:pt>
                <c:pt idx="18">
                  <c:v>17.05.21</c:v>
                </c:pt>
                <c:pt idx="19">
                  <c:v>18.05.21</c:v>
                </c:pt>
                <c:pt idx="20">
                  <c:v>19.05.21</c:v>
                </c:pt>
                <c:pt idx="21">
                  <c:v>20.05.21</c:v>
                </c:pt>
                <c:pt idx="22">
                  <c:v>21.05.21</c:v>
                </c:pt>
                <c:pt idx="23">
                  <c:v>22.05.21</c:v>
                </c:pt>
                <c:pt idx="24">
                  <c:v>23.05.21</c:v>
                </c:pt>
                <c:pt idx="25">
                  <c:v>24.05.21</c:v>
                </c:pt>
                <c:pt idx="26">
                  <c:v>25.05.21</c:v>
                </c:pt>
                <c:pt idx="27">
                  <c:v>26.05.21</c:v>
                </c:pt>
                <c:pt idx="28">
                  <c:v>27.05.21</c:v>
                </c:pt>
                <c:pt idx="29">
                  <c:v>28.05.21</c:v>
                </c:pt>
                <c:pt idx="30">
                  <c:v>29.05.21</c:v>
                </c:pt>
                <c:pt idx="31">
                  <c:v>30.05.21</c:v>
                </c:pt>
                <c:pt idx="32">
                  <c:v>31.05.21</c:v>
                </c:pt>
                <c:pt idx="33">
                  <c:v>01.06.21</c:v>
                </c:pt>
                <c:pt idx="34">
                  <c:v>02.06.21</c:v>
                </c:pt>
                <c:pt idx="35">
                  <c:v>03.06.21</c:v>
                </c:pt>
                <c:pt idx="36">
                  <c:v>04.06.21</c:v>
                </c:pt>
                <c:pt idx="37">
                  <c:v>05.06.21</c:v>
                </c:pt>
                <c:pt idx="38">
                  <c:v>06.06.21</c:v>
                </c:pt>
                <c:pt idx="39">
                  <c:v>07.06.21</c:v>
                </c:pt>
                <c:pt idx="40">
                  <c:v>08.06.21</c:v>
                </c:pt>
                <c:pt idx="41">
                  <c:v>09.06.21</c:v>
                </c:pt>
                <c:pt idx="42">
                  <c:v>10.06.21</c:v>
                </c:pt>
                <c:pt idx="43">
                  <c:v>11.06.21</c:v>
                </c:pt>
                <c:pt idx="44">
                  <c:v>12.06.21</c:v>
                </c:pt>
                <c:pt idx="45">
                  <c:v>13.06.21</c:v>
                </c:pt>
                <c:pt idx="46">
                  <c:v>14.06.21</c:v>
                </c:pt>
                <c:pt idx="47">
                  <c:v>15.06.21</c:v>
                </c:pt>
                <c:pt idx="48">
                  <c:v>16.06.21</c:v>
                </c:pt>
                <c:pt idx="49">
                  <c:v>17.06.21</c:v>
                </c:pt>
                <c:pt idx="50">
                  <c:v>18.06.21</c:v>
                </c:pt>
                <c:pt idx="51">
                  <c:v>19.06.21</c:v>
                </c:pt>
                <c:pt idx="52">
                  <c:v>20.06.21</c:v>
                </c:pt>
                <c:pt idx="53">
                  <c:v>21.06.21</c:v>
                </c:pt>
                <c:pt idx="54">
                  <c:v>22.06.21</c:v>
                </c:pt>
                <c:pt idx="55">
                  <c:v>23.06.21</c:v>
                </c:pt>
                <c:pt idx="56">
                  <c:v>24.06.21</c:v>
                </c:pt>
                <c:pt idx="57">
                  <c:v>25.06.21</c:v>
                </c:pt>
                <c:pt idx="58">
                  <c:v>26.06.21</c:v>
                </c:pt>
                <c:pt idx="59">
                  <c:v>27.06.21</c:v>
                </c:pt>
                <c:pt idx="60">
                  <c:v>28.06.21</c:v>
                </c:pt>
                <c:pt idx="61">
                  <c:v>29.06.21</c:v>
                </c:pt>
                <c:pt idx="62">
                  <c:v>30.06.21</c:v>
                </c:pt>
                <c:pt idx="63">
                  <c:v>01.07.21</c:v>
                </c:pt>
                <c:pt idx="64">
                  <c:v>02.07.21</c:v>
                </c:pt>
                <c:pt idx="65">
                  <c:v>03.07.21</c:v>
                </c:pt>
                <c:pt idx="66">
                  <c:v>04.07.21</c:v>
                </c:pt>
                <c:pt idx="67">
                  <c:v>05.07.21</c:v>
                </c:pt>
                <c:pt idx="68">
                  <c:v>06.07.21</c:v>
                </c:pt>
                <c:pt idx="69">
                  <c:v>07.07.21</c:v>
                </c:pt>
                <c:pt idx="70">
                  <c:v>08.07.21</c:v>
                </c:pt>
                <c:pt idx="71">
                  <c:v>09.07.21</c:v>
                </c:pt>
                <c:pt idx="72">
                  <c:v>10.07.21</c:v>
                </c:pt>
                <c:pt idx="73">
                  <c:v>11.07.21</c:v>
                </c:pt>
                <c:pt idx="74">
                  <c:v>12.07.21</c:v>
                </c:pt>
                <c:pt idx="75">
                  <c:v>13.07.21</c:v>
                </c:pt>
                <c:pt idx="76">
                  <c:v>14.07.21</c:v>
                </c:pt>
                <c:pt idx="77">
                  <c:v>15.07.21</c:v>
                </c:pt>
                <c:pt idx="78">
                  <c:v>16.07.21</c:v>
                </c:pt>
                <c:pt idx="79">
                  <c:v>17.07.21</c:v>
                </c:pt>
                <c:pt idx="80">
                  <c:v>18.07.21</c:v>
                </c:pt>
                <c:pt idx="81">
                  <c:v>19.07.21</c:v>
                </c:pt>
                <c:pt idx="82">
                  <c:v>20.07.21</c:v>
                </c:pt>
                <c:pt idx="83">
                  <c:v>21.07.21</c:v>
                </c:pt>
                <c:pt idx="84">
                  <c:v>22.07.21</c:v>
                </c:pt>
                <c:pt idx="85">
                  <c:v>23.07.21</c:v>
                </c:pt>
                <c:pt idx="86">
                  <c:v>24.07.21</c:v>
                </c:pt>
                <c:pt idx="87">
                  <c:v>25.07.21</c:v>
                </c:pt>
                <c:pt idx="88">
                  <c:v>26.07.21</c:v>
                </c:pt>
                <c:pt idx="89">
                  <c:v>27.07.21</c:v>
                </c:pt>
                <c:pt idx="90">
                  <c:v>28.07.21</c:v>
                </c:pt>
                <c:pt idx="91">
                  <c:v>29.07.21</c:v>
                </c:pt>
                <c:pt idx="92">
                  <c:v>30.07.21</c:v>
                </c:pt>
                <c:pt idx="93">
                  <c:v>31.07.21</c:v>
                </c:pt>
                <c:pt idx="94">
                  <c:v>01.08.21</c:v>
                </c:pt>
                <c:pt idx="95">
                  <c:v>02.08.21</c:v>
                </c:pt>
                <c:pt idx="96">
                  <c:v>03.08.21</c:v>
                </c:pt>
                <c:pt idx="97">
                  <c:v>04.08.21</c:v>
                </c:pt>
                <c:pt idx="98">
                  <c:v>05.08.21</c:v>
                </c:pt>
                <c:pt idx="99">
                  <c:v>06.08.21</c:v>
                </c:pt>
                <c:pt idx="100">
                  <c:v>07.08.21</c:v>
                </c:pt>
                <c:pt idx="101">
                  <c:v>08.08.21</c:v>
                </c:pt>
                <c:pt idx="102">
                  <c:v>09.08.21</c:v>
                </c:pt>
                <c:pt idx="103">
                  <c:v>10.08.21</c:v>
                </c:pt>
                <c:pt idx="104">
                  <c:v>11.08.21</c:v>
                </c:pt>
                <c:pt idx="105">
                  <c:v>12.08.21</c:v>
                </c:pt>
                <c:pt idx="106">
                  <c:v>13.08.21</c:v>
                </c:pt>
                <c:pt idx="107">
                  <c:v>14.08.21</c:v>
                </c:pt>
                <c:pt idx="108">
                  <c:v>15.08.21</c:v>
                </c:pt>
                <c:pt idx="109">
                  <c:v>16.08.21</c:v>
                </c:pt>
                <c:pt idx="110">
                  <c:v>17.08.21</c:v>
                </c:pt>
                <c:pt idx="111">
                  <c:v>18.08.21</c:v>
                </c:pt>
                <c:pt idx="112">
                  <c:v>19.08.21</c:v>
                </c:pt>
                <c:pt idx="113">
                  <c:v>20.08.21</c:v>
                </c:pt>
                <c:pt idx="114">
                  <c:v>21.08.21</c:v>
                </c:pt>
                <c:pt idx="115">
                  <c:v>22.08.21</c:v>
                </c:pt>
                <c:pt idx="116">
                  <c:v>23.08.21</c:v>
                </c:pt>
                <c:pt idx="117">
                  <c:v>24.08.21</c:v>
                </c:pt>
                <c:pt idx="118">
                  <c:v>25.08.21</c:v>
                </c:pt>
                <c:pt idx="119">
                  <c:v>26.08.21</c:v>
                </c:pt>
                <c:pt idx="120">
                  <c:v>27.08.21</c:v>
                </c:pt>
                <c:pt idx="121">
                  <c:v>28.08.21</c:v>
                </c:pt>
                <c:pt idx="122">
                  <c:v>29.08.21</c:v>
                </c:pt>
                <c:pt idx="123">
                  <c:v>30.08.21</c:v>
                </c:pt>
                <c:pt idx="124">
                  <c:v>31.08.21</c:v>
                </c:pt>
                <c:pt idx="125">
                  <c:v>01.09.21</c:v>
                </c:pt>
                <c:pt idx="126">
                  <c:v>02.09.21</c:v>
                </c:pt>
                <c:pt idx="127">
                  <c:v>03.09.21</c:v>
                </c:pt>
                <c:pt idx="128">
                  <c:v>04.09.21</c:v>
                </c:pt>
                <c:pt idx="129">
                  <c:v>05.09.21</c:v>
                </c:pt>
                <c:pt idx="130">
                  <c:v>06.09.21</c:v>
                </c:pt>
                <c:pt idx="131">
                  <c:v>07.09.21</c:v>
                </c:pt>
                <c:pt idx="132">
                  <c:v>08.09.21</c:v>
                </c:pt>
                <c:pt idx="133">
                  <c:v>09.09.21</c:v>
                </c:pt>
                <c:pt idx="134">
                  <c:v>10.09.21</c:v>
                </c:pt>
                <c:pt idx="135">
                  <c:v>11.09.21</c:v>
                </c:pt>
                <c:pt idx="136">
                  <c:v>12.09.21</c:v>
                </c:pt>
                <c:pt idx="137">
                  <c:v>13.09.21</c:v>
                </c:pt>
                <c:pt idx="138">
                  <c:v>14.09.21</c:v>
                </c:pt>
                <c:pt idx="139">
                  <c:v>15.09.21</c:v>
                </c:pt>
                <c:pt idx="140">
                  <c:v>16.09.21</c:v>
                </c:pt>
                <c:pt idx="141">
                  <c:v>17.09.21</c:v>
                </c:pt>
                <c:pt idx="142">
                  <c:v>18.09.21</c:v>
                </c:pt>
                <c:pt idx="143">
                  <c:v>19.09.21</c:v>
                </c:pt>
                <c:pt idx="144">
                  <c:v>20.09.21</c:v>
                </c:pt>
                <c:pt idx="145">
                  <c:v>21.09.21</c:v>
                </c:pt>
                <c:pt idx="146">
                  <c:v>22.09.21</c:v>
                </c:pt>
                <c:pt idx="147">
                  <c:v>23.09.21</c:v>
                </c:pt>
                <c:pt idx="148">
                  <c:v>24.09.21</c:v>
                </c:pt>
                <c:pt idx="149">
                  <c:v>25.09.21</c:v>
                </c:pt>
                <c:pt idx="150">
                  <c:v>26.09.21</c:v>
                </c:pt>
                <c:pt idx="151">
                  <c:v>27.09.21</c:v>
                </c:pt>
                <c:pt idx="152">
                  <c:v>28.09.21</c:v>
                </c:pt>
                <c:pt idx="153">
                  <c:v>29.09.21</c:v>
                </c:pt>
                <c:pt idx="154">
                  <c:v>30.09.21</c:v>
                </c:pt>
                <c:pt idx="155">
                  <c:v>01.10.21</c:v>
                </c:pt>
                <c:pt idx="156">
                  <c:v>02.10.21</c:v>
                </c:pt>
                <c:pt idx="157">
                  <c:v>03.10.21</c:v>
                </c:pt>
                <c:pt idx="158">
                  <c:v>04.10.21</c:v>
                </c:pt>
                <c:pt idx="159">
                  <c:v>05.10.21</c:v>
                </c:pt>
                <c:pt idx="160">
                  <c:v>06.10.21</c:v>
                </c:pt>
                <c:pt idx="161">
                  <c:v>07.10.21</c:v>
                </c:pt>
                <c:pt idx="162">
                  <c:v>08.10.21</c:v>
                </c:pt>
                <c:pt idx="163">
                  <c:v>09.10.21</c:v>
                </c:pt>
                <c:pt idx="164">
                  <c:v>10.10.21</c:v>
                </c:pt>
                <c:pt idx="165">
                  <c:v>11.10.21</c:v>
                </c:pt>
                <c:pt idx="166">
                  <c:v>12.10.21</c:v>
                </c:pt>
                <c:pt idx="167">
                  <c:v>13.10.21</c:v>
                </c:pt>
                <c:pt idx="168">
                  <c:v>14.10.21</c:v>
                </c:pt>
                <c:pt idx="169">
                  <c:v>15.10.21</c:v>
                </c:pt>
                <c:pt idx="170">
                  <c:v>16.10.21</c:v>
                </c:pt>
                <c:pt idx="171">
                  <c:v>17.10.21</c:v>
                </c:pt>
                <c:pt idx="172">
                  <c:v>18.10.21</c:v>
                </c:pt>
                <c:pt idx="173">
                  <c:v>19.10.21</c:v>
                </c:pt>
                <c:pt idx="174">
                  <c:v>20.10.21</c:v>
                </c:pt>
                <c:pt idx="175">
                  <c:v>21.10.21</c:v>
                </c:pt>
                <c:pt idx="176">
                  <c:v>22.10.21</c:v>
                </c:pt>
                <c:pt idx="177">
                  <c:v>23.10.21</c:v>
                </c:pt>
                <c:pt idx="178">
                  <c:v>24.10.21</c:v>
                </c:pt>
                <c:pt idx="179">
                  <c:v>25.10.21</c:v>
                </c:pt>
                <c:pt idx="180">
                  <c:v>26.10.21</c:v>
                </c:pt>
                <c:pt idx="181">
                  <c:v>27.10.21</c:v>
                </c:pt>
                <c:pt idx="182">
                  <c:v>28.10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23</c:v>
                </c:pt>
                <c:pt idx="1">
                  <c:v>19</c:v>
                </c:pt>
                <c:pt idx="2">
                  <c:v>7</c:v>
                </c:pt>
                <c:pt idx="3">
                  <c:v>4</c:v>
                </c:pt>
                <c:pt idx="4">
                  <c:v>15</c:v>
                </c:pt>
                <c:pt idx="5">
                  <c:v>19</c:v>
                </c:pt>
                <c:pt idx="6">
                  <c:v>13</c:v>
                </c:pt>
                <c:pt idx="7">
                  <c:v>14</c:v>
                </c:pt>
                <c:pt idx="8">
                  <c:v>14</c:v>
                </c:pt>
                <c:pt idx="9">
                  <c:v>4</c:v>
                </c:pt>
                <c:pt idx="10">
                  <c:v>2</c:v>
                </c:pt>
                <c:pt idx="11">
                  <c:v>10</c:v>
                </c:pt>
                <c:pt idx="12">
                  <c:v>17</c:v>
                </c:pt>
                <c:pt idx="13">
                  <c:v>10</c:v>
                </c:pt>
                <c:pt idx="14">
                  <c:v>12</c:v>
                </c:pt>
                <c:pt idx="15">
                  <c:v>9</c:v>
                </c:pt>
                <c:pt idx="16">
                  <c:v>5</c:v>
                </c:pt>
                <c:pt idx="17">
                  <c:v>3</c:v>
                </c:pt>
                <c:pt idx="18">
                  <c:v>8</c:v>
                </c:pt>
                <c:pt idx="19">
                  <c:v>7</c:v>
                </c:pt>
                <c:pt idx="20">
                  <c:v>3</c:v>
                </c:pt>
                <c:pt idx="21">
                  <c:v>6</c:v>
                </c:pt>
                <c:pt idx="22">
                  <c:v>4</c:v>
                </c:pt>
                <c:pt idx="23">
                  <c:v>1</c:v>
                </c:pt>
                <c:pt idx="24">
                  <c:v>0</c:v>
                </c:pt>
                <c:pt idx="25">
                  <c:v>6</c:v>
                </c:pt>
                <c:pt idx="26">
                  <c:v>0</c:v>
                </c:pt>
                <c:pt idx="27">
                  <c:v>6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0</c:v>
                </c:pt>
                <c:pt idx="32">
                  <c:v>2</c:v>
                </c:pt>
                <c:pt idx="33">
                  <c:v>1</c:v>
                </c:pt>
                <c:pt idx="34">
                  <c:v>1</c:v>
                </c:pt>
                <c:pt idx="35">
                  <c:v>2</c:v>
                </c:pt>
                <c:pt idx="36">
                  <c:v>1</c:v>
                </c:pt>
                <c:pt idx="37">
                  <c:v>1</c:v>
                </c:pt>
                <c:pt idx="38">
                  <c:v>0</c:v>
                </c:pt>
                <c:pt idx="39">
                  <c:v>2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1</c:v>
                </c:pt>
                <c:pt idx="49">
                  <c:v>2</c:v>
                </c:pt>
                <c:pt idx="50">
                  <c:v>0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2</c:v>
                </c:pt>
                <c:pt idx="56">
                  <c:v>2</c:v>
                </c:pt>
                <c:pt idx="57">
                  <c:v>0</c:v>
                </c:pt>
                <c:pt idx="58">
                  <c:v>1</c:v>
                </c:pt>
                <c:pt idx="59">
                  <c:v>2</c:v>
                </c:pt>
                <c:pt idx="60">
                  <c:v>0</c:v>
                </c:pt>
                <c:pt idx="61">
                  <c:v>1</c:v>
                </c:pt>
                <c:pt idx="62">
                  <c:v>0</c:v>
                </c:pt>
                <c:pt idx="63">
                  <c:v>0</c:v>
                </c:pt>
                <c:pt idx="64">
                  <c:v>1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4</c:v>
                </c:pt>
                <c:pt idx="71">
                  <c:v>4</c:v>
                </c:pt>
                <c:pt idx="72">
                  <c:v>0</c:v>
                </c:pt>
                <c:pt idx="73">
                  <c:v>0</c:v>
                </c:pt>
                <c:pt idx="74">
                  <c:v>3</c:v>
                </c:pt>
                <c:pt idx="75">
                  <c:v>0</c:v>
                </c:pt>
                <c:pt idx="76">
                  <c:v>4</c:v>
                </c:pt>
                <c:pt idx="77">
                  <c:v>2</c:v>
                </c:pt>
                <c:pt idx="78">
                  <c:v>5</c:v>
                </c:pt>
                <c:pt idx="79">
                  <c:v>1</c:v>
                </c:pt>
                <c:pt idx="80">
                  <c:v>1</c:v>
                </c:pt>
                <c:pt idx="81">
                  <c:v>3</c:v>
                </c:pt>
                <c:pt idx="82">
                  <c:v>5</c:v>
                </c:pt>
                <c:pt idx="83">
                  <c:v>1</c:v>
                </c:pt>
                <c:pt idx="84">
                  <c:v>3</c:v>
                </c:pt>
                <c:pt idx="85">
                  <c:v>2</c:v>
                </c:pt>
                <c:pt idx="86">
                  <c:v>0</c:v>
                </c:pt>
                <c:pt idx="87">
                  <c:v>1</c:v>
                </c:pt>
                <c:pt idx="88">
                  <c:v>3</c:v>
                </c:pt>
                <c:pt idx="89">
                  <c:v>4</c:v>
                </c:pt>
                <c:pt idx="90">
                  <c:v>1</c:v>
                </c:pt>
                <c:pt idx="91">
                  <c:v>3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2</c:v>
                </c:pt>
                <c:pt idx="96">
                  <c:v>3</c:v>
                </c:pt>
                <c:pt idx="97">
                  <c:v>3</c:v>
                </c:pt>
                <c:pt idx="98">
                  <c:v>1</c:v>
                </c:pt>
                <c:pt idx="99">
                  <c:v>2</c:v>
                </c:pt>
                <c:pt idx="100">
                  <c:v>1</c:v>
                </c:pt>
                <c:pt idx="101">
                  <c:v>0</c:v>
                </c:pt>
                <c:pt idx="102">
                  <c:v>6</c:v>
                </c:pt>
                <c:pt idx="103">
                  <c:v>1</c:v>
                </c:pt>
                <c:pt idx="104">
                  <c:v>1</c:v>
                </c:pt>
                <c:pt idx="105">
                  <c:v>2</c:v>
                </c:pt>
                <c:pt idx="106">
                  <c:v>5</c:v>
                </c:pt>
                <c:pt idx="107">
                  <c:v>2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0</c:v>
                </c:pt>
                <c:pt idx="113">
                  <c:v>3</c:v>
                </c:pt>
                <c:pt idx="114">
                  <c:v>1</c:v>
                </c:pt>
                <c:pt idx="115">
                  <c:v>2</c:v>
                </c:pt>
                <c:pt idx="116">
                  <c:v>1</c:v>
                </c:pt>
                <c:pt idx="117">
                  <c:v>2</c:v>
                </c:pt>
                <c:pt idx="118">
                  <c:v>5</c:v>
                </c:pt>
                <c:pt idx="119">
                  <c:v>2</c:v>
                </c:pt>
                <c:pt idx="120">
                  <c:v>2</c:v>
                </c:pt>
                <c:pt idx="121">
                  <c:v>0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3</c:v>
                </c:pt>
                <c:pt idx="126">
                  <c:v>4</c:v>
                </c:pt>
                <c:pt idx="127">
                  <c:v>6</c:v>
                </c:pt>
                <c:pt idx="128">
                  <c:v>5</c:v>
                </c:pt>
                <c:pt idx="129">
                  <c:v>1</c:v>
                </c:pt>
                <c:pt idx="130">
                  <c:v>5</c:v>
                </c:pt>
                <c:pt idx="131">
                  <c:v>5</c:v>
                </c:pt>
                <c:pt idx="132">
                  <c:v>1</c:v>
                </c:pt>
                <c:pt idx="133">
                  <c:v>3</c:v>
                </c:pt>
                <c:pt idx="134">
                  <c:v>2</c:v>
                </c:pt>
                <c:pt idx="135">
                  <c:v>0</c:v>
                </c:pt>
                <c:pt idx="136">
                  <c:v>3</c:v>
                </c:pt>
                <c:pt idx="137">
                  <c:v>2</c:v>
                </c:pt>
                <c:pt idx="138">
                  <c:v>3</c:v>
                </c:pt>
                <c:pt idx="139">
                  <c:v>5</c:v>
                </c:pt>
                <c:pt idx="140">
                  <c:v>7</c:v>
                </c:pt>
                <c:pt idx="141">
                  <c:v>4</c:v>
                </c:pt>
                <c:pt idx="142">
                  <c:v>2</c:v>
                </c:pt>
                <c:pt idx="143">
                  <c:v>5</c:v>
                </c:pt>
                <c:pt idx="144">
                  <c:v>8</c:v>
                </c:pt>
                <c:pt idx="145">
                  <c:v>9</c:v>
                </c:pt>
                <c:pt idx="146">
                  <c:v>8</c:v>
                </c:pt>
                <c:pt idx="147">
                  <c:v>5</c:v>
                </c:pt>
                <c:pt idx="148">
                  <c:v>4</c:v>
                </c:pt>
                <c:pt idx="149">
                  <c:v>4</c:v>
                </c:pt>
                <c:pt idx="150">
                  <c:v>2</c:v>
                </c:pt>
                <c:pt idx="151">
                  <c:v>7</c:v>
                </c:pt>
                <c:pt idx="152">
                  <c:v>6</c:v>
                </c:pt>
                <c:pt idx="153">
                  <c:v>8</c:v>
                </c:pt>
                <c:pt idx="154">
                  <c:v>12</c:v>
                </c:pt>
                <c:pt idx="155">
                  <c:v>8</c:v>
                </c:pt>
                <c:pt idx="156">
                  <c:v>4</c:v>
                </c:pt>
                <c:pt idx="157">
                  <c:v>7</c:v>
                </c:pt>
                <c:pt idx="158">
                  <c:v>7</c:v>
                </c:pt>
                <c:pt idx="159">
                  <c:v>12</c:v>
                </c:pt>
                <c:pt idx="160">
                  <c:v>13</c:v>
                </c:pt>
                <c:pt idx="161">
                  <c:v>15</c:v>
                </c:pt>
                <c:pt idx="162">
                  <c:v>9</c:v>
                </c:pt>
                <c:pt idx="163">
                  <c:v>8</c:v>
                </c:pt>
                <c:pt idx="164">
                  <c:v>5</c:v>
                </c:pt>
                <c:pt idx="165">
                  <c:v>19</c:v>
                </c:pt>
                <c:pt idx="166">
                  <c:v>31</c:v>
                </c:pt>
                <c:pt idx="167">
                  <c:v>18</c:v>
                </c:pt>
                <c:pt idx="168">
                  <c:v>16</c:v>
                </c:pt>
                <c:pt idx="169">
                  <c:v>14</c:v>
                </c:pt>
                <c:pt idx="170">
                  <c:v>9</c:v>
                </c:pt>
                <c:pt idx="171">
                  <c:v>12</c:v>
                </c:pt>
                <c:pt idx="172">
                  <c:v>38</c:v>
                </c:pt>
                <c:pt idx="173">
                  <c:v>53</c:v>
                </c:pt>
                <c:pt idx="174">
                  <c:v>48</c:v>
                </c:pt>
                <c:pt idx="175">
                  <c:v>52</c:v>
                </c:pt>
                <c:pt idx="176">
                  <c:v>41</c:v>
                </c:pt>
                <c:pt idx="177">
                  <c:v>27</c:v>
                </c:pt>
                <c:pt idx="178">
                  <c:v>20</c:v>
                </c:pt>
                <c:pt idx="179">
                  <c:v>72</c:v>
                </c:pt>
                <c:pt idx="180">
                  <c:v>76</c:v>
                </c:pt>
                <c:pt idx="181">
                  <c:v>53</c:v>
                </c:pt>
                <c:pt idx="182">
                  <c:v>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W$1</c:f>
              <c:strCache>
                <c:ptCount val="22"/>
                <c:pt idx="0">
                  <c:v>01.06 - 01.06</c:v>
                </c:pt>
                <c:pt idx="1">
                  <c:v>02.06 - 08.06</c:v>
                </c:pt>
                <c:pt idx="2">
                  <c:v>09.06 - 15.06</c:v>
                </c:pt>
                <c:pt idx="3">
                  <c:v>16.06 - 22.06</c:v>
                </c:pt>
                <c:pt idx="4">
                  <c:v>23.06 - 28.06</c:v>
                </c:pt>
                <c:pt idx="5">
                  <c:v>30.06 - 06.07</c:v>
                </c:pt>
                <c:pt idx="6">
                  <c:v>07.07 - 13.07</c:v>
                </c:pt>
                <c:pt idx="7">
                  <c:v>14.07 - 20.07</c:v>
                </c:pt>
                <c:pt idx="8">
                  <c:v>21.07 - 27.07</c:v>
                </c:pt>
                <c:pt idx="9">
                  <c:v>28.07 - 03.08</c:v>
                </c:pt>
                <c:pt idx="10">
                  <c:v>04.08 - 10.08</c:v>
                </c:pt>
                <c:pt idx="11">
                  <c:v>11.08 - 17.08</c:v>
                </c:pt>
                <c:pt idx="12">
                  <c:v>18.08 - 24.08</c:v>
                </c:pt>
                <c:pt idx="13">
                  <c:v>25.08 - 31.08</c:v>
                </c:pt>
                <c:pt idx="14">
                  <c:v>01.09 - 07.09</c:v>
                </c:pt>
                <c:pt idx="15">
                  <c:v>08.09 - 14.09</c:v>
                </c:pt>
                <c:pt idx="16">
                  <c:v>15.09 - 21.09</c:v>
                </c:pt>
                <c:pt idx="17">
                  <c:v>22.09 - 28.09</c:v>
                </c:pt>
                <c:pt idx="18">
                  <c:v>29.09 - 05.10</c:v>
                </c:pt>
                <c:pt idx="19">
                  <c:v>06.10 - 12.10</c:v>
                </c:pt>
                <c:pt idx="20">
                  <c:v>13.10 - 19.10</c:v>
                </c:pt>
                <c:pt idx="21">
                  <c:v>20.10 - 26.10</c:v>
                </c:pt>
              </c:strCache>
            </c:strRef>
          </c:cat>
          <c:val>
            <c:numRef>
              <c:f>List1!$B$2:$W$2</c:f>
              <c:numCache>
                <c:formatCode>General</c:formatCode>
                <c:ptCount val="22"/>
                <c:pt idx="0">
                  <c:v>1.1303266000000001</c:v>
                </c:pt>
                <c:pt idx="1">
                  <c:v>2.6370363999999999</c:v>
                </c:pt>
                <c:pt idx="2">
                  <c:v>1.9369584</c:v>
                </c:pt>
                <c:pt idx="3">
                  <c:v>1.936477</c:v>
                </c:pt>
                <c:pt idx="4">
                  <c:v>1.8822536999999999</c:v>
                </c:pt>
                <c:pt idx="5">
                  <c:v>1.1290796000000001</c:v>
                </c:pt>
                <c:pt idx="6">
                  <c:v>2.0965948999999999</c:v>
                </c:pt>
                <c:pt idx="7">
                  <c:v>4.0314256999999998</c:v>
                </c:pt>
                <c:pt idx="8">
                  <c:v>3.0635031000000001</c:v>
                </c:pt>
                <c:pt idx="9">
                  <c:v>4.8363693999999997</c:v>
                </c:pt>
                <c:pt idx="10">
                  <c:v>4.1900880999999996</c:v>
                </c:pt>
                <c:pt idx="11">
                  <c:v>8.0548373000000009</c:v>
                </c:pt>
                <c:pt idx="12">
                  <c:v>5.4752342000000001</c:v>
                </c:pt>
                <c:pt idx="13">
                  <c:v>5.1512288000000002</c:v>
                </c:pt>
                <c:pt idx="14">
                  <c:v>12.704947600000001</c:v>
                </c:pt>
                <c:pt idx="15">
                  <c:v>26.016949499999999</c:v>
                </c:pt>
                <c:pt idx="16">
                  <c:v>43.4617352</c:v>
                </c:pt>
                <c:pt idx="17">
                  <c:v>47.565510600000003</c:v>
                </c:pt>
                <c:pt idx="18">
                  <c:v>87.628264200000004</c:v>
                </c:pt>
                <c:pt idx="19">
                  <c:v>148.80904860000001</c:v>
                </c:pt>
                <c:pt idx="20">
                  <c:v>299.74107470000001</c:v>
                </c:pt>
                <c:pt idx="21">
                  <c:v>401.6805946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W$1</c:f>
              <c:strCache>
                <c:ptCount val="22"/>
                <c:pt idx="0">
                  <c:v>01.06 - 01.06</c:v>
                </c:pt>
                <c:pt idx="1">
                  <c:v>02.06 - 08.06</c:v>
                </c:pt>
                <c:pt idx="2">
                  <c:v>09.06 - 15.06</c:v>
                </c:pt>
                <c:pt idx="3">
                  <c:v>16.06 - 22.06</c:v>
                </c:pt>
                <c:pt idx="4">
                  <c:v>23.06 - 28.06</c:v>
                </c:pt>
                <c:pt idx="5">
                  <c:v>30.06 - 06.07</c:v>
                </c:pt>
                <c:pt idx="6">
                  <c:v>07.07 - 13.07</c:v>
                </c:pt>
                <c:pt idx="7">
                  <c:v>14.07 - 20.07</c:v>
                </c:pt>
                <c:pt idx="8">
                  <c:v>21.07 - 27.07</c:v>
                </c:pt>
                <c:pt idx="9">
                  <c:v>28.07 - 03.08</c:v>
                </c:pt>
                <c:pt idx="10">
                  <c:v>04.08 - 10.08</c:v>
                </c:pt>
                <c:pt idx="11">
                  <c:v>11.08 - 17.08</c:v>
                </c:pt>
                <c:pt idx="12">
                  <c:v>18.08 - 24.08</c:v>
                </c:pt>
                <c:pt idx="13">
                  <c:v>25.08 - 31.08</c:v>
                </c:pt>
                <c:pt idx="14">
                  <c:v>01.09 - 07.09</c:v>
                </c:pt>
                <c:pt idx="15">
                  <c:v>08.09 - 14.09</c:v>
                </c:pt>
                <c:pt idx="16">
                  <c:v>15.09 - 21.09</c:v>
                </c:pt>
                <c:pt idx="17">
                  <c:v>22.09 - 28.09</c:v>
                </c:pt>
                <c:pt idx="18">
                  <c:v>29.09 - 05.10</c:v>
                </c:pt>
                <c:pt idx="19">
                  <c:v>06.10 - 12.10</c:v>
                </c:pt>
                <c:pt idx="20">
                  <c:v>13.10 - 19.10</c:v>
                </c:pt>
                <c:pt idx="21">
                  <c:v>20.10 - 26.10</c:v>
                </c:pt>
              </c:strCache>
            </c:strRef>
          </c:cat>
          <c:val>
            <c:numRef>
              <c:f>List1!$B$3:$W$3</c:f>
              <c:numCache>
                <c:formatCode>General</c:formatCode>
                <c:ptCount val="22"/>
                <c:pt idx="0">
                  <c:v>1.0720065999999999</c:v>
                </c:pt>
                <c:pt idx="1">
                  <c:v>1.3784273</c:v>
                </c:pt>
                <c:pt idx="2">
                  <c:v>0.61273940000000005</c:v>
                </c:pt>
                <c:pt idx="3">
                  <c:v>0.76605570000000001</c:v>
                </c:pt>
                <c:pt idx="4">
                  <c:v>1.2258994999999999</c:v>
                </c:pt>
                <c:pt idx="5">
                  <c:v>0.30644389999999999</c:v>
                </c:pt>
                <c:pt idx="6">
                  <c:v>1.8377285000000001</c:v>
                </c:pt>
                <c:pt idx="7">
                  <c:v>3.2143758999999998</c:v>
                </c:pt>
                <c:pt idx="8">
                  <c:v>2.1418189999999999</c:v>
                </c:pt>
                <c:pt idx="9">
                  <c:v>1.8352748999999999</c:v>
                </c:pt>
                <c:pt idx="10">
                  <c:v>2.1431960999999999</c:v>
                </c:pt>
                <c:pt idx="11">
                  <c:v>1.9924165</c:v>
                </c:pt>
                <c:pt idx="12">
                  <c:v>1.5344036000000001</c:v>
                </c:pt>
                <c:pt idx="13">
                  <c:v>1.8434199</c:v>
                </c:pt>
                <c:pt idx="14">
                  <c:v>4.4583284000000001</c:v>
                </c:pt>
                <c:pt idx="15">
                  <c:v>2.1532697000000001</c:v>
                </c:pt>
                <c:pt idx="16">
                  <c:v>6.1549823999999997</c:v>
                </c:pt>
                <c:pt idx="17">
                  <c:v>5.5419913000000003</c:v>
                </c:pt>
                <c:pt idx="18">
                  <c:v>8.9354902999999997</c:v>
                </c:pt>
                <c:pt idx="19">
                  <c:v>15.425837899999999</c:v>
                </c:pt>
                <c:pt idx="20">
                  <c:v>24.7130963</c:v>
                </c:pt>
                <c:pt idx="21">
                  <c:v>48.8712443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9.04.21</c:v>
                </c:pt>
                <c:pt idx="1">
                  <c:v>30.04.21</c:v>
                </c:pt>
                <c:pt idx="2">
                  <c:v>01.05.21</c:v>
                </c:pt>
                <c:pt idx="3">
                  <c:v>02.05.21</c:v>
                </c:pt>
                <c:pt idx="4">
                  <c:v>03.05.21</c:v>
                </c:pt>
                <c:pt idx="5">
                  <c:v>04.05.21</c:v>
                </c:pt>
                <c:pt idx="6">
                  <c:v>05.05.21</c:v>
                </c:pt>
                <c:pt idx="7">
                  <c:v>06.05.21</c:v>
                </c:pt>
                <c:pt idx="8">
                  <c:v>07.05.21</c:v>
                </c:pt>
                <c:pt idx="9">
                  <c:v>08.05.21</c:v>
                </c:pt>
                <c:pt idx="10">
                  <c:v>09.05.21</c:v>
                </c:pt>
                <c:pt idx="11">
                  <c:v>10.05.21</c:v>
                </c:pt>
                <c:pt idx="12">
                  <c:v>11.05.21</c:v>
                </c:pt>
                <c:pt idx="13">
                  <c:v>12.05.21</c:v>
                </c:pt>
                <c:pt idx="14">
                  <c:v>13.05.21</c:v>
                </c:pt>
                <c:pt idx="15">
                  <c:v>14.05.21</c:v>
                </c:pt>
                <c:pt idx="16">
                  <c:v>15.05.21</c:v>
                </c:pt>
                <c:pt idx="17">
                  <c:v>16.05.21</c:v>
                </c:pt>
                <c:pt idx="18">
                  <c:v>17.05.21</c:v>
                </c:pt>
                <c:pt idx="19">
                  <c:v>18.05.21</c:v>
                </c:pt>
                <c:pt idx="20">
                  <c:v>19.05.21</c:v>
                </c:pt>
                <c:pt idx="21">
                  <c:v>20.05.21</c:v>
                </c:pt>
                <c:pt idx="22">
                  <c:v>21.05.21</c:v>
                </c:pt>
                <c:pt idx="23">
                  <c:v>22.05.21</c:v>
                </c:pt>
                <c:pt idx="24">
                  <c:v>23.05.21</c:v>
                </c:pt>
                <c:pt idx="25">
                  <c:v>24.05.21</c:v>
                </c:pt>
                <c:pt idx="26">
                  <c:v>25.05.21</c:v>
                </c:pt>
                <c:pt idx="27">
                  <c:v>26.05.21</c:v>
                </c:pt>
                <c:pt idx="28">
                  <c:v>27.05.21</c:v>
                </c:pt>
                <c:pt idx="29">
                  <c:v>28.05.21</c:v>
                </c:pt>
                <c:pt idx="30">
                  <c:v>29.05.21</c:v>
                </c:pt>
                <c:pt idx="31">
                  <c:v>30.05.21</c:v>
                </c:pt>
                <c:pt idx="32">
                  <c:v>31.05.21</c:v>
                </c:pt>
                <c:pt idx="33">
                  <c:v>01.06.21</c:v>
                </c:pt>
                <c:pt idx="34">
                  <c:v>02.06.21</c:v>
                </c:pt>
                <c:pt idx="35">
                  <c:v>03.06.21</c:v>
                </c:pt>
                <c:pt idx="36">
                  <c:v>04.06.21</c:v>
                </c:pt>
                <c:pt idx="37">
                  <c:v>05.06.21</c:v>
                </c:pt>
                <c:pt idx="38">
                  <c:v>06.06.21</c:v>
                </c:pt>
                <c:pt idx="39">
                  <c:v>07.06.21</c:v>
                </c:pt>
                <c:pt idx="40">
                  <c:v>08.06.21</c:v>
                </c:pt>
                <c:pt idx="41">
                  <c:v>09.06.21</c:v>
                </c:pt>
                <c:pt idx="42">
                  <c:v>10.06.21</c:v>
                </c:pt>
                <c:pt idx="43">
                  <c:v>11.06.21</c:v>
                </c:pt>
                <c:pt idx="44">
                  <c:v>12.06.21</c:v>
                </c:pt>
                <c:pt idx="45">
                  <c:v>13.06.21</c:v>
                </c:pt>
                <c:pt idx="46">
                  <c:v>14.06.21</c:v>
                </c:pt>
                <c:pt idx="47">
                  <c:v>15.06.21</c:v>
                </c:pt>
                <c:pt idx="48">
                  <c:v>16.06.21</c:v>
                </c:pt>
                <c:pt idx="49">
                  <c:v>17.06.21</c:v>
                </c:pt>
                <c:pt idx="50">
                  <c:v>18.06.21</c:v>
                </c:pt>
                <c:pt idx="51">
                  <c:v>19.06.21</c:v>
                </c:pt>
                <c:pt idx="52">
                  <c:v>20.06.21</c:v>
                </c:pt>
                <c:pt idx="53">
                  <c:v>21.06.21</c:v>
                </c:pt>
                <c:pt idx="54">
                  <c:v>22.06.21</c:v>
                </c:pt>
                <c:pt idx="55">
                  <c:v>23.06.21</c:v>
                </c:pt>
                <c:pt idx="56">
                  <c:v>24.06.21</c:v>
                </c:pt>
                <c:pt idx="57">
                  <c:v>25.06.21</c:v>
                </c:pt>
                <c:pt idx="58">
                  <c:v>26.06.21</c:v>
                </c:pt>
                <c:pt idx="59">
                  <c:v>27.06.21</c:v>
                </c:pt>
                <c:pt idx="60">
                  <c:v>28.06.21</c:v>
                </c:pt>
                <c:pt idx="61">
                  <c:v>29.06.21</c:v>
                </c:pt>
                <c:pt idx="62">
                  <c:v>30.06.21</c:v>
                </c:pt>
                <c:pt idx="63">
                  <c:v>01.07.21</c:v>
                </c:pt>
                <c:pt idx="64">
                  <c:v>02.07.21</c:v>
                </c:pt>
                <c:pt idx="65">
                  <c:v>03.07.21</c:v>
                </c:pt>
                <c:pt idx="66">
                  <c:v>04.07.21</c:v>
                </c:pt>
                <c:pt idx="67">
                  <c:v>05.07.21</c:v>
                </c:pt>
                <c:pt idx="68">
                  <c:v>06.07.21</c:v>
                </c:pt>
                <c:pt idx="69">
                  <c:v>07.07.21</c:v>
                </c:pt>
                <c:pt idx="70">
                  <c:v>08.07.21</c:v>
                </c:pt>
                <c:pt idx="71">
                  <c:v>09.07.21</c:v>
                </c:pt>
                <c:pt idx="72">
                  <c:v>10.07.21</c:v>
                </c:pt>
                <c:pt idx="73">
                  <c:v>11.07.21</c:v>
                </c:pt>
                <c:pt idx="74">
                  <c:v>12.07.21</c:v>
                </c:pt>
                <c:pt idx="75">
                  <c:v>13.07.21</c:v>
                </c:pt>
                <c:pt idx="76">
                  <c:v>14.07.21</c:v>
                </c:pt>
                <c:pt idx="77">
                  <c:v>15.07.21</c:v>
                </c:pt>
                <c:pt idx="78">
                  <c:v>16.07.21</c:v>
                </c:pt>
                <c:pt idx="79">
                  <c:v>17.07.21</c:v>
                </c:pt>
                <c:pt idx="80">
                  <c:v>18.07.21</c:v>
                </c:pt>
                <c:pt idx="81">
                  <c:v>19.07.21</c:v>
                </c:pt>
                <c:pt idx="82">
                  <c:v>20.07.21</c:v>
                </c:pt>
                <c:pt idx="83">
                  <c:v>21.07.21</c:v>
                </c:pt>
                <c:pt idx="84">
                  <c:v>22.07.21</c:v>
                </c:pt>
                <c:pt idx="85">
                  <c:v>23.07.21</c:v>
                </c:pt>
                <c:pt idx="86">
                  <c:v>24.07.21</c:v>
                </c:pt>
                <c:pt idx="87">
                  <c:v>25.07.21</c:v>
                </c:pt>
                <c:pt idx="88">
                  <c:v>26.07.21</c:v>
                </c:pt>
                <c:pt idx="89">
                  <c:v>27.07.21</c:v>
                </c:pt>
                <c:pt idx="90">
                  <c:v>28.07.21</c:v>
                </c:pt>
                <c:pt idx="91">
                  <c:v>29.07.21</c:v>
                </c:pt>
                <c:pt idx="92">
                  <c:v>30.07.21</c:v>
                </c:pt>
                <c:pt idx="93">
                  <c:v>31.07.21</c:v>
                </c:pt>
                <c:pt idx="94">
                  <c:v>01.08.21</c:v>
                </c:pt>
                <c:pt idx="95">
                  <c:v>02.08.21</c:v>
                </c:pt>
                <c:pt idx="96">
                  <c:v>03.08.21</c:v>
                </c:pt>
                <c:pt idx="97">
                  <c:v>04.08.21</c:v>
                </c:pt>
                <c:pt idx="98">
                  <c:v>05.08.21</c:v>
                </c:pt>
                <c:pt idx="99">
                  <c:v>06.08.21</c:v>
                </c:pt>
                <c:pt idx="100">
                  <c:v>07.08.21</c:v>
                </c:pt>
                <c:pt idx="101">
                  <c:v>08.08.21</c:v>
                </c:pt>
                <c:pt idx="102">
                  <c:v>09.08.21</c:v>
                </c:pt>
                <c:pt idx="103">
                  <c:v>10.08.21</c:v>
                </c:pt>
                <c:pt idx="104">
                  <c:v>11.08.21</c:v>
                </c:pt>
                <c:pt idx="105">
                  <c:v>12.08.21</c:v>
                </c:pt>
                <c:pt idx="106">
                  <c:v>13.08.21</c:v>
                </c:pt>
                <c:pt idx="107">
                  <c:v>14.08.21</c:v>
                </c:pt>
                <c:pt idx="108">
                  <c:v>15.08.21</c:v>
                </c:pt>
                <c:pt idx="109">
                  <c:v>16.08.21</c:v>
                </c:pt>
                <c:pt idx="110">
                  <c:v>17.08.21</c:v>
                </c:pt>
                <c:pt idx="111">
                  <c:v>18.08.21</c:v>
                </c:pt>
                <c:pt idx="112">
                  <c:v>19.08.21</c:v>
                </c:pt>
                <c:pt idx="113">
                  <c:v>20.08.21</c:v>
                </c:pt>
                <c:pt idx="114">
                  <c:v>21.08.21</c:v>
                </c:pt>
                <c:pt idx="115">
                  <c:v>22.08.21</c:v>
                </c:pt>
                <c:pt idx="116">
                  <c:v>23.08.21</c:v>
                </c:pt>
                <c:pt idx="117">
                  <c:v>24.08.21</c:v>
                </c:pt>
                <c:pt idx="118">
                  <c:v>25.08.21</c:v>
                </c:pt>
                <c:pt idx="119">
                  <c:v>26.08.21</c:v>
                </c:pt>
                <c:pt idx="120">
                  <c:v>27.08.21</c:v>
                </c:pt>
                <c:pt idx="121">
                  <c:v>28.08.21</c:v>
                </c:pt>
                <c:pt idx="122">
                  <c:v>29.08.21</c:v>
                </c:pt>
                <c:pt idx="123">
                  <c:v>30.08.21</c:v>
                </c:pt>
                <c:pt idx="124">
                  <c:v>31.08.21</c:v>
                </c:pt>
                <c:pt idx="125">
                  <c:v>01.09.21</c:v>
                </c:pt>
                <c:pt idx="126">
                  <c:v>02.09.21</c:v>
                </c:pt>
                <c:pt idx="127">
                  <c:v>03.09.21</c:v>
                </c:pt>
                <c:pt idx="128">
                  <c:v>04.09.21</c:v>
                </c:pt>
                <c:pt idx="129">
                  <c:v>05.09.21</c:v>
                </c:pt>
                <c:pt idx="130">
                  <c:v>06.09.21</c:v>
                </c:pt>
                <c:pt idx="131">
                  <c:v>07.09.21</c:v>
                </c:pt>
                <c:pt idx="132">
                  <c:v>08.09.21</c:v>
                </c:pt>
                <c:pt idx="133">
                  <c:v>09.09.21</c:v>
                </c:pt>
                <c:pt idx="134">
                  <c:v>10.09.21</c:v>
                </c:pt>
                <c:pt idx="135">
                  <c:v>11.09.21</c:v>
                </c:pt>
                <c:pt idx="136">
                  <c:v>12.09.21</c:v>
                </c:pt>
                <c:pt idx="137">
                  <c:v>13.09.21</c:v>
                </c:pt>
                <c:pt idx="138">
                  <c:v>14.09.21</c:v>
                </c:pt>
                <c:pt idx="139">
                  <c:v>15.09.21</c:v>
                </c:pt>
                <c:pt idx="140">
                  <c:v>16.09.21</c:v>
                </c:pt>
                <c:pt idx="141">
                  <c:v>17.09.21</c:v>
                </c:pt>
                <c:pt idx="142">
                  <c:v>18.09.21</c:v>
                </c:pt>
                <c:pt idx="143">
                  <c:v>19.09.21</c:v>
                </c:pt>
                <c:pt idx="144">
                  <c:v>20.09.21</c:v>
                </c:pt>
                <c:pt idx="145">
                  <c:v>21.09.21</c:v>
                </c:pt>
                <c:pt idx="146">
                  <c:v>22.09.21</c:v>
                </c:pt>
                <c:pt idx="147">
                  <c:v>23.09.21</c:v>
                </c:pt>
                <c:pt idx="148">
                  <c:v>24.09.21</c:v>
                </c:pt>
                <c:pt idx="149">
                  <c:v>25.09.21</c:v>
                </c:pt>
                <c:pt idx="150">
                  <c:v>26.09.21</c:v>
                </c:pt>
                <c:pt idx="151">
                  <c:v>27.09.21</c:v>
                </c:pt>
                <c:pt idx="152">
                  <c:v>28.09.21</c:v>
                </c:pt>
                <c:pt idx="153">
                  <c:v>29.09.21</c:v>
                </c:pt>
                <c:pt idx="154">
                  <c:v>30.09.21</c:v>
                </c:pt>
                <c:pt idx="155">
                  <c:v>01.10.21</c:v>
                </c:pt>
                <c:pt idx="156">
                  <c:v>02.10.21</c:v>
                </c:pt>
                <c:pt idx="157">
                  <c:v>03.10.21</c:v>
                </c:pt>
                <c:pt idx="158">
                  <c:v>04.10.21</c:v>
                </c:pt>
                <c:pt idx="159">
                  <c:v>05.10.21</c:v>
                </c:pt>
                <c:pt idx="160">
                  <c:v>06.10.21</c:v>
                </c:pt>
                <c:pt idx="161">
                  <c:v>07.10.21</c:v>
                </c:pt>
                <c:pt idx="162">
                  <c:v>08.10.21</c:v>
                </c:pt>
                <c:pt idx="163">
                  <c:v>09.10.21</c:v>
                </c:pt>
                <c:pt idx="164">
                  <c:v>10.10.21</c:v>
                </c:pt>
                <c:pt idx="165">
                  <c:v>11.10.21</c:v>
                </c:pt>
                <c:pt idx="166">
                  <c:v>12.10.21</c:v>
                </c:pt>
                <c:pt idx="167">
                  <c:v>13.10.21</c:v>
                </c:pt>
                <c:pt idx="168">
                  <c:v>14.10.21</c:v>
                </c:pt>
                <c:pt idx="169">
                  <c:v>15.10.21</c:v>
                </c:pt>
                <c:pt idx="170">
                  <c:v>16.10.21</c:v>
                </c:pt>
                <c:pt idx="171">
                  <c:v>17.10.21</c:v>
                </c:pt>
                <c:pt idx="172">
                  <c:v>18.10.21</c:v>
                </c:pt>
                <c:pt idx="173">
                  <c:v>19.10.21</c:v>
                </c:pt>
                <c:pt idx="174">
                  <c:v>20.10.21</c:v>
                </c:pt>
                <c:pt idx="175">
                  <c:v>21.10.21</c:v>
                </c:pt>
                <c:pt idx="176">
                  <c:v>22.10.21</c:v>
                </c:pt>
                <c:pt idx="177">
                  <c:v>23.10.21</c:v>
                </c:pt>
                <c:pt idx="178">
                  <c:v>24.10.21</c:v>
                </c:pt>
                <c:pt idx="179">
                  <c:v>25.10.21</c:v>
                </c:pt>
                <c:pt idx="180">
                  <c:v>26.10.21</c:v>
                </c:pt>
                <c:pt idx="181">
                  <c:v>27.10.21</c:v>
                </c:pt>
                <c:pt idx="182">
                  <c:v>28.10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61</c:v>
                </c:pt>
                <c:pt idx="1">
                  <c:v>60</c:v>
                </c:pt>
                <c:pt idx="2">
                  <c:v>58</c:v>
                </c:pt>
                <c:pt idx="3">
                  <c:v>58</c:v>
                </c:pt>
                <c:pt idx="4">
                  <c:v>52</c:v>
                </c:pt>
                <c:pt idx="5">
                  <c:v>50</c:v>
                </c:pt>
                <c:pt idx="6">
                  <c:v>47</c:v>
                </c:pt>
                <c:pt idx="7">
                  <c:v>44</c:v>
                </c:pt>
                <c:pt idx="8">
                  <c:v>40</c:v>
                </c:pt>
                <c:pt idx="9">
                  <c:v>41</c:v>
                </c:pt>
                <c:pt idx="10">
                  <c:v>41</c:v>
                </c:pt>
                <c:pt idx="11">
                  <c:v>36</c:v>
                </c:pt>
                <c:pt idx="12">
                  <c:v>37</c:v>
                </c:pt>
                <c:pt idx="13">
                  <c:v>27</c:v>
                </c:pt>
                <c:pt idx="14">
                  <c:v>28</c:v>
                </c:pt>
                <c:pt idx="15">
                  <c:v>28</c:v>
                </c:pt>
                <c:pt idx="16">
                  <c:v>27</c:v>
                </c:pt>
                <c:pt idx="17">
                  <c:v>26</c:v>
                </c:pt>
                <c:pt idx="18">
                  <c:v>23</c:v>
                </c:pt>
                <c:pt idx="19">
                  <c:v>21</c:v>
                </c:pt>
                <c:pt idx="20">
                  <c:v>21</c:v>
                </c:pt>
                <c:pt idx="21">
                  <c:v>22</c:v>
                </c:pt>
                <c:pt idx="22">
                  <c:v>22</c:v>
                </c:pt>
                <c:pt idx="23">
                  <c:v>23</c:v>
                </c:pt>
                <c:pt idx="24">
                  <c:v>23</c:v>
                </c:pt>
                <c:pt idx="25">
                  <c:v>22</c:v>
                </c:pt>
                <c:pt idx="26">
                  <c:v>21</c:v>
                </c:pt>
                <c:pt idx="27">
                  <c:v>22</c:v>
                </c:pt>
                <c:pt idx="28">
                  <c:v>20</c:v>
                </c:pt>
                <c:pt idx="29">
                  <c:v>19</c:v>
                </c:pt>
                <c:pt idx="30">
                  <c:v>18</c:v>
                </c:pt>
                <c:pt idx="31">
                  <c:v>19</c:v>
                </c:pt>
                <c:pt idx="32">
                  <c:v>17</c:v>
                </c:pt>
                <c:pt idx="33">
                  <c:v>17</c:v>
                </c:pt>
                <c:pt idx="34">
                  <c:v>15</c:v>
                </c:pt>
                <c:pt idx="35">
                  <c:v>14</c:v>
                </c:pt>
                <c:pt idx="36">
                  <c:v>12</c:v>
                </c:pt>
                <c:pt idx="37">
                  <c:v>11</c:v>
                </c:pt>
                <c:pt idx="38">
                  <c:v>11</c:v>
                </c:pt>
                <c:pt idx="39">
                  <c:v>10</c:v>
                </c:pt>
                <c:pt idx="40">
                  <c:v>9</c:v>
                </c:pt>
                <c:pt idx="41">
                  <c:v>7</c:v>
                </c:pt>
                <c:pt idx="42">
                  <c:v>4</c:v>
                </c:pt>
                <c:pt idx="43">
                  <c:v>4</c:v>
                </c:pt>
                <c:pt idx="44">
                  <c:v>3</c:v>
                </c:pt>
                <c:pt idx="45">
                  <c:v>0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3</c:v>
                </c:pt>
                <c:pt idx="71">
                  <c:v>5</c:v>
                </c:pt>
                <c:pt idx="72">
                  <c:v>5</c:v>
                </c:pt>
                <c:pt idx="73">
                  <c:v>5</c:v>
                </c:pt>
                <c:pt idx="74">
                  <c:v>7</c:v>
                </c:pt>
                <c:pt idx="75">
                  <c:v>8</c:v>
                </c:pt>
                <c:pt idx="76">
                  <c:v>7</c:v>
                </c:pt>
                <c:pt idx="77">
                  <c:v>7</c:v>
                </c:pt>
                <c:pt idx="78">
                  <c:v>9</c:v>
                </c:pt>
                <c:pt idx="79">
                  <c:v>11</c:v>
                </c:pt>
                <c:pt idx="80">
                  <c:v>11</c:v>
                </c:pt>
                <c:pt idx="81">
                  <c:v>13</c:v>
                </c:pt>
                <c:pt idx="82">
                  <c:v>15</c:v>
                </c:pt>
                <c:pt idx="83">
                  <c:v>17</c:v>
                </c:pt>
                <c:pt idx="84">
                  <c:v>20</c:v>
                </c:pt>
                <c:pt idx="85">
                  <c:v>19</c:v>
                </c:pt>
                <c:pt idx="86">
                  <c:v>19</c:v>
                </c:pt>
                <c:pt idx="87">
                  <c:v>20</c:v>
                </c:pt>
                <c:pt idx="88">
                  <c:v>20</c:v>
                </c:pt>
                <c:pt idx="89">
                  <c:v>21</c:v>
                </c:pt>
                <c:pt idx="90">
                  <c:v>22</c:v>
                </c:pt>
                <c:pt idx="91">
                  <c:v>23</c:v>
                </c:pt>
                <c:pt idx="92">
                  <c:v>22</c:v>
                </c:pt>
                <c:pt idx="93">
                  <c:v>21</c:v>
                </c:pt>
                <c:pt idx="94">
                  <c:v>20</c:v>
                </c:pt>
                <c:pt idx="95">
                  <c:v>18</c:v>
                </c:pt>
                <c:pt idx="96">
                  <c:v>16</c:v>
                </c:pt>
                <c:pt idx="97">
                  <c:v>19</c:v>
                </c:pt>
                <c:pt idx="98">
                  <c:v>17</c:v>
                </c:pt>
                <c:pt idx="99">
                  <c:v>19</c:v>
                </c:pt>
                <c:pt idx="100">
                  <c:v>16</c:v>
                </c:pt>
                <c:pt idx="101">
                  <c:v>18</c:v>
                </c:pt>
                <c:pt idx="102">
                  <c:v>18</c:v>
                </c:pt>
                <c:pt idx="103">
                  <c:v>18</c:v>
                </c:pt>
                <c:pt idx="104">
                  <c:v>18</c:v>
                </c:pt>
                <c:pt idx="105">
                  <c:v>19</c:v>
                </c:pt>
                <c:pt idx="106">
                  <c:v>19</c:v>
                </c:pt>
                <c:pt idx="107">
                  <c:v>19</c:v>
                </c:pt>
                <c:pt idx="108">
                  <c:v>19</c:v>
                </c:pt>
                <c:pt idx="109">
                  <c:v>22</c:v>
                </c:pt>
                <c:pt idx="110">
                  <c:v>19</c:v>
                </c:pt>
                <c:pt idx="111">
                  <c:v>16</c:v>
                </c:pt>
                <c:pt idx="112">
                  <c:v>16</c:v>
                </c:pt>
                <c:pt idx="113">
                  <c:v>15</c:v>
                </c:pt>
                <c:pt idx="114">
                  <c:v>14</c:v>
                </c:pt>
                <c:pt idx="115">
                  <c:v>12</c:v>
                </c:pt>
                <c:pt idx="116">
                  <c:v>13</c:v>
                </c:pt>
                <c:pt idx="117">
                  <c:v>12</c:v>
                </c:pt>
                <c:pt idx="118">
                  <c:v>10</c:v>
                </c:pt>
                <c:pt idx="119">
                  <c:v>11</c:v>
                </c:pt>
                <c:pt idx="120">
                  <c:v>11</c:v>
                </c:pt>
                <c:pt idx="121">
                  <c:v>12</c:v>
                </c:pt>
                <c:pt idx="122">
                  <c:v>11</c:v>
                </c:pt>
                <c:pt idx="123">
                  <c:v>9</c:v>
                </c:pt>
                <c:pt idx="124">
                  <c:v>13</c:v>
                </c:pt>
                <c:pt idx="125">
                  <c:v>16</c:v>
                </c:pt>
                <c:pt idx="126">
                  <c:v>17</c:v>
                </c:pt>
                <c:pt idx="127">
                  <c:v>17</c:v>
                </c:pt>
                <c:pt idx="128">
                  <c:v>20</c:v>
                </c:pt>
                <c:pt idx="129">
                  <c:v>21</c:v>
                </c:pt>
                <c:pt idx="130">
                  <c:v>19</c:v>
                </c:pt>
                <c:pt idx="131">
                  <c:v>20</c:v>
                </c:pt>
                <c:pt idx="132">
                  <c:v>19</c:v>
                </c:pt>
                <c:pt idx="133">
                  <c:v>19</c:v>
                </c:pt>
                <c:pt idx="134">
                  <c:v>20</c:v>
                </c:pt>
                <c:pt idx="135">
                  <c:v>23</c:v>
                </c:pt>
                <c:pt idx="136">
                  <c:v>22</c:v>
                </c:pt>
                <c:pt idx="137">
                  <c:v>24</c:v>
                </c:pt>
                <c:pt idx="138">
                  <c:v>23</c:v>
                </c:pt>
                <c:pt idx="139">
                  <c:v>20</c:v>
                </c:pt>
                <c:pt idx="140">
                  <c:v>21</c:v>
                </c:pt>
                <c:pt idx="141">
                  <c:v>21</c:v>
                </c:pt>
                <c:pt idx="142">
                  <c:v>20</c:v>
                </c:pt>
                <c:pt idx="143">
                  <c:v>20</c:v>
                </c:pt>
                <c:pt idx="144">
                  <c:v>18</c:v>
                </c:pt>
                <c:pt idx="145">
                  <c:v>21</c:v>
                </c:pt>
                <c:pt idx="146">
                  <c:v>24</c:v>
                </c:pt>
                <c:pt idx="147">
                  <c:v>24</c:v>
                </c:pt>
                <c:pt idx="148">
                  <c:v>25</c:v>
                </c:pt>
                <c:pt idx="149">
                  <c:v>23</c:v>
                </c:pt>
                <c:pt idx="150">
                  <c:v>23</c:v>
                </c:pt>
                <c:pt idx="151">
                  <c:v>25</c:v>
                </c:pt>
                <c:pt idx="152">
                  <c:v>29</c:v>
                </c:pt>
                <c:pt idx="153">
                  <c:v>32</c:v>
                </c:pt>
                <c:pt idx="154">
                  <c:v>40</c:v>
                </c:pt>
                <c:pt idx="155">
                  <c:v>41</c:v>
                </c:pt>
                <c:pt idx="156">
                  <c:v>45</c:v>
                </c:pt>
                <c:pt idx="157">
                  <c:v>45</c:v>
                </c:pt>
                <c:pt idx="158">
                  <c:v>44</c:v>
                </c:pt>
                <c:pt idx="159">
                  <c:v>43</c:v>
                </c:pt>
                <c:pt idx="160">
                  <c:v>44</c:v>
                </c:pt>
                <c:pt idx="161">
                  <c:v>49</c:v>
                </c:pt>
                <c:pt idx="162">
                  <c:v>52</c:v>
                </c:pt>
                <c:pt idx="163">
                  <c:v>53</c:v>
                </c:pt>
                <c:pt idx="164">
                  <c:v>52</c:v>
                </c:pt>
                <c:pt idx="165">
                  <c:v>46</c:v>
                </c:pt>
                <c:pt idx="166">
                  <c:v>55</c:v>
                </c:pt>
                <c:pt idx="167">
                  <c:v>52</c:v>
                </c:pt>
                <c:pt idx="168">
                  <c:v>55</c:v>
                </c:pt>
                <c:pt idx="169">
                  <c:v>57</c:v>
                </c:pt>
                <c:pt idx="170">
                  <c:v>59</c:v>
                </c:pt>
                <c:pt idx="171">
                  <c:v>65</c:v>
                </c:pt>
                <c:pt idx="172">
                  <c:v>82</c:v>
                </c:pt>
                <c:pt idx="173">
                  <c:v>95</c:v>
                </c:pt>
                <c:pt idx="174">
                  <c:v>103</c:v>
                </c:pt>
                <c:pt idx="175">
                  <c:v>109</c:v>
                </c:pt>
                <c:pt idx="176">
                  <c:v>120</c:v>
                </c:pt>
                <c:pt idx="177">
                  <c:v>132</c:v>
                </c:pt>
                <c:pt idx="178">
                  <c:v>142</c:v>
                </c:pt>
                <c:pt idx="179">
                  <c:v>171</c:v>
                </c:pt>
                <c:pt idx="180">
                  <c:v>188</c:v>
                </c:pt>
                <c:pt idx="181">
                  <c:v>209</c:v>
                </c:pt>
                <c:pt idx="182">
                  <c:v>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29.04.21</c:v>
                </c:pt>
                <c:pt idx="1">
                  <c:v>30.04.21</c:v>
                </c:pt>
                <c:pt idx="2">
                  <c:v>01.05.21</c:v>
                </c:pt>
                <c:pt idx="3">
                  <c:v>02.05.21</c:v>
                </c:pt>
                <c:pt idx="4">
                  <c:v>03.05.21</c:v>
                </c:pt>
                <c:pt idx="5">
                  <c:v>04.05.21</c:v>
                </c:pt>
                <c:pt idx="6">
                  <c:v>05.05.21</c:v>
                </c:pt>
                <c:pt idx="7">
                  <c:v>06.05.21</c:v>
                </c:pt>
                <c:pt idx="8">
                  <c:v>07.05.21</c:v>
                </c:pt>
                <c:pt idx="9">
                  <c:v>08.05.21</c:v>
                </c:pt>
                <c:pt idx="10">
                  <c:v>09.05.21</c:v>
                </c:pt>
                <c:pt idx="11">
                  <c:v>10.05.21</c:v>
                </c:pt>
                <c:pt idx="12">
                  <c:v>11.05.21</c:v>
                </c:pt>
                <c:pt idx="13">
                  <c:v>12.05.21</c:v>
                </c:pt>
                <c:pt idx="14">
                  <c:v>13.05.21</c:v>
                </c:pt>
                <c:pt idx="15">
                  <c:v>14.05.21</c:v>
                </c:pt>
                <c:pt idx="16">
                  <c:v>15.05.21</c:v>
                </c:pt>
                <c:pt idx="17">
                  <c:v>16.05.21</c:v>
                </c:pt>
                <c:pt idx="18">
                  <c:v>17.05.21</c:v>
                </c:pt>
                <c:pt idx="19">
                  <c:v>18.05.21</c:v>
                </c:pt>
                <c:pt idx="20">
                  <c:v>19.05.21</c:v>
                </c:pt>
                <c:pt idx="21">
                  <c:v>20.05.21</c:v>
                </c:pt>
                <c:pt idx="22">
                  <c:v>21.05.21</c:v>
                </c:pt>
                <c:pt idx="23">
                  <c:v>22.05.21</c:v>
                </c:pt>
                <c:pt idx="24">
                  <c:v>23.05.21</c:v>
                </c:pt>
                <c:pt idx="25">
                  <c:v>24.05.21</c:v>
                </c:pt>
                <c:pt idx="26">
                  <c:v>25.05.21</c:v>
                </c:pt>
                <c:pt idx="27">
                  <c:v>26.05.21</c:v>
                </c:pt>
                <c:pt idx="28">
                  <c:v>27.05.21</c:v>
                </c:pt>
                <c:pt idx="29">
                  <c:v>28.05.21</c:v>
                </c:pt>
                <c:pt idx="30">
                  <c:v>29.05.21</c:v>
                </c:pt>
                <c:pt idx="31">
                  <c:v>30.05.21</c:v>
                </c:pt>
                <c:pt idx="32">
                  <c:v>31.05.21</c:v>
                </c:pt>
                <c:pt idx="33">
                  <c:v>01.06.21</c:v>
                </c:pt>
                <c:pt idx="34">
                  <c:v>02.06.21</c:v>
                </c:pt>
                <c:pt idx="35">
                  <c:v>03.06.21</c:v>
                </c:pt>
                <c:pt idx="36">
                  <c:v>04.06.21</c:v>
                </c:pt>
                <c:pt idx="37">
                  <c:v>05.06.21</c:v>
                </c:pt>
                <c:pt idx="38">
                  <c:v>06.06.21</c:v>
                </c:pt>
                <c:pt idx="39">
                  <c:v>07.06.21</c:v>
                </c:pt>
                <c:pt idx="40">
                  <c:v>08.06.21</c:v>
                </c:pt>
                <c:pt idx="41">
                  <c:v>09.06.21</c:v>
                </c:pt>
                <c:pt idx="42">
                  <c:v>10.06.21</c:v>
                </c:pt>
                <c:pt idx="43">
                  <c:v>11.06.21</c:v>
                </c:pt>
                <c:pt idx="44">
                  <c:v>12.06.21</c:v>
                </c:pt>
                <c:pt idx="45">
                  <c:v>13.06.21</c:v>
                </c:pt>
                <c:pt idx="46">
                  <c:v>14.06.21</c:v>
                </c:pt>
                <c:pt idx="47">
                  <c:v>15.06.21</c:v>
                </c:pt>
                <c:pt idx="48">
                  <c:v>16.06.21</c:v>
                </c:pt>
                <c:pt idx="49">
                  <c:v>17.06.21</c:v>
                </c:pt>
                <c:pt idx="50">
                  <c:v>18.06.21</c:v>
                </c:pt>
                <c:pt idx="51">
                  <c:v>19.06.21</c:v>
                </c:pt>
                <c:pt idx="52">
                  <c:v>20.06.21</c:v>
                </c:pt>
                <c:pt idx="53">
                  <c:v>21.06.21</c:v>
                </c:pt>
                <c:pt idx="54">
                  <c:v>22.06.21</c:v>
                </c:pt>
                <c:pt idx="55">
                  <c:v>23.06.21</c:v>
                </c:pt>
                <c:pt idx="56">
                  <c:v>24.06.21</c:v>
                </c:pt>
                <c:pt idx="57">
                  <c:v>25.06.21</c:v>
                </c:pt>
                <c:pt idx="58">
                  <c:v>26.06.21</c:v>
                </c:pt>
                <c:pt idx="59">
                  <c:v>27.06.21</c:v>
                </c:pt>
                <c:pt idx="60">
                  <c:v>28.06.21</c:v>
                </c:pt>
                <c:pt idx="61">
                  <c:v>29.06.21</c:v>
                </c:pt>
                <c:pt idx="62">
                  <c:v>30.06.21</c:v>
                </c:pt>
                <c:pt idx="63">
                  <c:v>01.07.21</c:v>
                </c:pt>
                <c:pt idx="64">
                  <c:v>02.07.21</c:v>
                </c:pt>
                <c:pt idx="65">
                  <c:v>03.07.21</c:v>
                </c:pt>
                <c:pt idx="66">
                  <c:v>04.07.21</c:v>
                </c:pt>
                <c:pt idx="67">
                  <c:v>05.07.21</c:v>
                </c:pt>
                <c:pt idx="68">
                  <c:v>06.07.21</c:v>
                </c:pt>
                <c:pt idx="69">
                  <c:v>07.07.21</c:v>
                </c:pt>
                <c:pt idx="70">
                  <c:v>08.07.21</c:v>
                </c:pt>
                <c:pt idx="71">
                  <c:v>09.07.21</c:v>
                </c:pt>
                <c:pt idx="72">
                  <c:v>10.07.21</c:v>
                </c:pt>
                <c:pt idx="73">
                  <c:v>11.07.21</c:v>
                </c:pt>
                <c:pt idx="74">
                  <c:v>12.07.21</c:v>
                </c:pt>
                <c:pt idx="75">
                  <c:v>13.07.21</c:v>
                </c:pt>
                <c:pt idx="76">
                  <c:v>14.07.21</c:v>
                </c:pt>
                <c:pt idx="77">
                  <c:v>15.07.21</c:v>
                </c:pt>
                <c:pt idx="78">
                  <c:v>16.07.21</c:v>
                </c:pt>
                <c:pt idx="79">
                  <c:v>17.07.21</c:v>
                </c:pt>
                <c:pt idx="80">
                  <c:v>18.07.21</c:v>
                </c:pt>
                <c:pt idx="81">
                  <c:v>19.07.21</c:v>
                </c:pt>
                <c:pt idx="82">
                  <c:v>20.07.21</c:v>
                </c:pt>
                <c:pt idx="83">
                  <c:v>21.07.21</c:v>
                </c:pt>
                <c:pt idx="84">
                  <c:v>22.07.21</c:v>
                </c:pt>
                <c:pt idx="85">
                  <c:v>23.07.21</c:v>
                </c:pt>
                <c:pt idx="86">
                  <c:v>24.07.21</c:v>
                </c:pt>
                <c:pt idx="87">
                  <c:v>25.07.21</c:v>
                </c:pt>
                <c:pt idx="88">
                  <c:v>26.07.21</c:v>
                </c:pt>
                <c:pt idx="89">
                  <c:v>27.07.21</c:v>
                </c:pt>
                <c:pt idx="90">
                  <c:v>28.07.21</c:v>
                </c:pt>
                <c:pt idx="91">
                  <c:v>29.07.21</c:v>
                </c:pt>
                <c:pt idx="92">
                  <c:v>30.07.21</c:v>
                </c:pt>
                <c:pt idx="93">
                  <c:v>31.07.21</c:v>
                </c:pt>
                <c:pt idx="94">
                  <c:v>01.08.21</c:v>
                </c:pt>
                <c:pt idx="95">
                  <c:v>02.08.21</c:v>
                </c:pt>
                <c:pt idx="96">
                  <c:v>03.08.21</c:v>
                </c:pt>
                <c:pt idx="97">
                  <c:v>04.08.21</c:v>
                </c:pt>
                <c:pt idx="98">
                  <c:v>05.08.21</c:v>
                </c:pt>
                <c:pt idx="99">
                  <c:v>06.08.21</c:v>
                </c:pt>
                <c:pt idx="100">
                  <c:v>07.08.21</c:v>
                </c:pt>
                <c:pt idx="101">
                  <c:v>08.08.21</c:v>
                </c:pt>
                <c:pt idx="102">
                  <c:v>09.08.21</c:v>
                </c:pt>
                <c:pt idx="103">
                  <c:v>10.08.21</c:v>
                </c:pt>
                <c:pt idx="104">
                  <c:v>11.08.21</c:v>
                </c:pt>
                <c:pt idx="105">
                  <c:v>12.08.21</c:v>
                </c:pt>
                <c:pt idx="106">
                  <c:v>13.08.21</c:v>
                </c:pt>
                <c:pt idx="107">
                  <c:v>14.08.21</c:v>
                </c:pt>
                <c:pt idx="108">
                  <c:v>15.08.21</c:v>
                </c:pt>
                <c:pt idx="109">
                  <c:v>16.08.21</c:v>
                </c:pt>
                <c:pt idx="110">
                  <c:v>17.08.21</c:v>
                </c:pt>
                <c:pt idx="111">
                  <c:v>18.08.21</c:v>
                </c:pt>
                <c:pt idx="112">
                  <c:v>19.08.21</c:v>
                </c:pt>
                <c:pt idx="113">
                  <c:v>20.08.21</c:v>
                </c:pt>
                <c:pt idx="114">
                  <c:v>21.08.21</c:v>
                </c:pt>
                <c:pt idx="115">
                  <c:v>22.08.21</c:v>
                </c:pt>
                <c:pt idx="116">
                  <c:v>23.08.21</c:v>
                </c:pt>
                <c:pt idx="117">
                  <c:v>24.08.21</c:v>
                </c:pt>
                <c:pt idx="118">
                  <c:v>25.08.21</c:v>
                </c:pt>
                <c:pt idx="119">
                  <c:v>26.08.21</c:v>
                </c:pt>
                <c:pt idx="120">
                  <c:v>27.08.21</c:v>
                </c:pt>
                <c:pt idx="121">
                  <c:v>28.08.21</c:v>
                </c:pt>
                <c:pt idx="122">
                  <c:v>29.08.21</c:v>
                </c:pt>
                <c:pt idx="123">
                  <c:v>30.08.21</c:v>
                </c:pt>
                <c:pt idx="124">
                  <c:v>31.08.21</c:v>
                </c:pt>
                <c:pt idx="125">
                  <c:v>01.09.21</c:v>
                </c:pt>
                <c:pt idx="126">
                  <c:v>02.09.21</c:v>
                </c:pt>
                <c:pt idx="127">
                  <c:v>03.09.21</c:v>
                </c:pt>
                <c:pt idx="128">
                  <c:v>04.09.21</c:v>
                </c:pt>
                <c:pt idx="129">
                  <c:v>05.09.21</c:v>
                </c:pt>
                <c:pt idx="130">
                  <c:v>06.09.21</c:v>
                </c:pt>
                <c:pt idx="131">
                  <c:v>07.09.21</c:v>
                </c:pt>
                <c:pt idx="132">
                  <c:v>08.09.21</c:v>
                </c:pt>
                <c:pt idx="133">
                  <c:v>09.09.21</c:v>
                </c:pt>
                <c:pt idx="134">
                  <c:v>10.09.21</c:v>
                </c:pt>
                <c:pt idx="135">
                  <c:v>11.09.21</c:v>
                </c:pt>
                <c:pt idx="136">
                  <c:v>12.09.21</c:v>
                </c:pt>
                <c:pt idx="137">
                  <c:v>13.09.21</c:v>
                </c:pt>
                <c:pt idx="138">
                  <c:v>14.09.21</c:v>
                </c:pt>
                <c:pt idx="139">
                  <c:v>15.09.21</c:v>
                </c:pt>
                <c:pt idx="140">
                  <c:v>16.09.21</c:v>
                </c:pt>
                <c:pt idx="141">
                  <c:v>17.09.21</c:v>
                </c:pt>
                <c:pt idx="142">
                  <c:v>18.09.21</c:v>
                </c:pt>
                <c:pt idx="143">
                  <c:v>19.09.21</c:v>
                </c:pt>
                <c:pt idx="144">
                  <c:v>20.09.21</c:v>
                </c:pt>
                <c:pt idx="145">
                  <c:v>21.09.21</c:v>
                </c:pt>
                <c:pt idx="146">
                  <c:v>22.09.21</c:v>
                </c:pt>
                <c:pt idx="147">
                  <c:v>23.09.21</c:v>
                </c:pt>
                <c:pt idx="148">
                  <c:v>24.09.21</c:v>
                </c:pt>
                <c:pt idx="149">
                  <c:v>25.09.21</c:v>
                </c:pt>
                <c:pt idx="150">
                  <c:v>26.09.21</c:v>
                </c:pt>
                <c:pt idx="151">
                  <c:v>27.09.21</c:v>
                </c:pt>
                <c:pt idx="152">
                  <c:v>28.09.21</c:v>
                </c:pt>
                <c:pt idx="153">
                  <c:v>29.09.21</c:v>
                </c:pt>
                <c:pt idx="154">
                  <c:v>30.09.21</c:v>
                </c:pt>
                <c:pt idx="155">
                  <c:v>01.10.21</c:v>
                </c:pt>
                <c:pt idx="156">
                  <c:v>02.10.21</c:v>
                </c:pt>
                <c:pt idx="157">
                  <c:v>03.10.21</c:v>
                </c:pt>
                <c:pt idx="158">
                  <c:v>04.10.21</c:v>
                </c:pt>
                <c:pt idx="159">
                  <c:v>05.10.21</c:v>
                </c:pt>
                <c:pt idx="160">
                  <c:v>06.10.21</c:v>
                </c:pt>
                <c:pt idx="161">
                  <c:v>07.10.21</c:v>
                </c:pt>
                <c:pt idx="162">
                  <c:v>08.10.21</c:v>
                </c:pt>
                <c:pt idx="163">
                  <c:v>09.10.21</c:v>
                </c:pt>
                <c:pt idx="164">
                  <c:v>10.10.21</c:v>
                </c:pt>
                <c:pt idx="165">
                  <c:v>11.10.21</c:v>
                </c:pt>
                <c:pt idx="166">
                  <c:v>12.10.21</c:v>
                </c:pt>
                <c:pt idx="167">
                  <c:v>13.10.21</c:v>
                </c:pt>
                <c:pt idx="168">
                  <c:v>14.10.21</c:v>
                </c:pt>
                <c:pt idx="169">
                  <c:v>15.10.21</c:v>
                </c:pt>
                <c:pt idx="170">
                  <c:v>16.10.21</c:v>
                </c:pt>
                <c:pt idx="171">
                  <c:v>17.10.21</c:v>
                </c:pt>
                <c:pt idx="172">
                  <c:v>18.10.21</c:v>
                </c:pt>
                <c:pt idx="173">
                  <c:v>19.10.21</c:v>
                </c:pt>
                <c:pt idx="174">
                  <c:v>20.10.21</c:v>
                </c:pt>
                <c:pt idx="175">
                  <c:v>21.10.21</c:v>
                </c:pt>
                <c:pt idx="176">
                  <c:v>22.10.21</c:v>
                </c:pt>
                <c:pt idx="177">
                  <c:v>23.10.21</c:v>
                </c:pt>
                <c:pt idx="178">
                  <c:v>24.10.21</c:v>
                </c:pt>
                <c:pt idx="179">
                  <c:v>25.10.21</c:v>
                </c:pt>
                <c:pt idx="180">
                  <c:v>26.10.21</c:v>
                </c:pt>
                <c:pt idx="181">
                  <c:v>27.10.21</c:v>
                </c:pt>
                <c:pt idx="182">
                  <c:v>28.10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94</c:v>
                </c:pt>
                <c:pt idx="1">
                  <c:v>189</c:v>
                </c:pt>
                <c:pt idx="2">
                  <c:v>186</c:v>
                </c:pt>
                <c:pt idx="3">
                  <c:v>185</c:v>
                </c:pt>
                <c:pt idx="4">
                  <c:v>173</c:v>
                </c:pt>
                <c:pt idx="5">
                  <c:v>158</c:v>
                </c:pt>
                <c:pt idx="6">
                  <c:v>150</c:v>
                </c:pt>
                <c:pt idx="7">
                  <c:v>139</c:v>
                </c:pt>
                <c:pt idx="8">
                  <c:v>142</c:v>
                </c:pt>
                <c:pt idx="9">
                  <c:v>140</c:v>
                </c:pt>
                <c:pt idx="10">
                  <c:v>139</c:v>
                </c:pt>
                <c:pt idx="11">
                  <c:v>135</c:v>
                </c:pt>
                <c:pt idx="12">
                  <c:v>144</c:v>
                </c:pt>
                <c:pt idx="13">
                  <c:v>143</c:v>
                </c:pt>
                <c:pt idx="14">
                  <c:v>136</c:v>
                </c:pt>
                <c:pt idx="15">
                  <c:v>128</c:v>
                </c:pt>
                <c:pt idx="16">
                  <c:v>123</c:v>
                </c:pt>
                <c:pt idx="17">
                  <c:v>121</c:v>
                </c:pt>
                <c:pt idx="18">
                  <c:v>109</c:v>
                </c:pt>
                <c:pt idx="19">
                  <c:v>102</c:v>
                </c:pt>
                <c:pt idx="20">
                  <c:v>93</c:v>
                </c:pt>
                <c:pt idx="21">
                  <c:v>92</c:v>
                </c:pt>
                <c:pt idx="22">
                  <c:v>80</c:v>
                </c:pt>
                <c:pt idx="23">
                  <c:v>79</c:v>
                </c:pt>
                <c:pt idx="24">
                  <c:v>78</c:v>
                </c:pt>
                <c:pt idx="25">
                  <c:v>62</c:v>
                </c:pt>
                <c:pt idx="26">
                  <c:v>56</c:v>
                </c:pt>
                <c:pt idx="27">
                  <c:v>55</c:v>
                </c:pt>
                <c:pt idx="28">
                  <c:v>46</c:v>
                </c:pt>
                <c:pt idx="29">
                  <c:v>45</c:v>
                </c:pt>
                <c:pt idx="30">
                  <c:v>42</c:v>
                </c:pt>
                <c:pt idx="31">
                  <c:v>41</c:v>
                </c:pt>
                <c:pt idx="32">
                  <c:v>37</c:v>
                </c:pt>
                <c:pt idx="33">
                  <c:v>37</c:v>
                </c:pt>
                <c:pt idx="34">
                  <c:v>33</c:v>
                </c:pt>
                <c:pt idx="35">
                  <c:v>35</c:v>
                </c:pt>
                <c:pt idx="36">
                  <c:v>32</c:v>
                </c:pt>
                <c:pt idx="37">
                  <c:v>30</c:v>
                </c:pt>
                <c:pt idx="38">
                  <c:v>31</c:v>
                </c:pt>
                <c:pt idx="39">
                  <c:v>28</c:v>
                </c:pt>
                <c:pt idx="40">
                  <c:v>24</c:v>
                </c:pt>
                <c:pt idx="41">
                  <c:v>21</c:v>
                </c:pt>
                <c:pt idx="42">
                  <c:v>21</c:v>
                </c:pt>
                <c:pt idx="43">
                  <c:v>17</c:v>
                </c:pt>
                <c:pt idx="44">
                  <c:v>18</c:v>
                </c:pt>
                <c:pt idx="45">
                  <c:v>20</c:v>
                </c:pt>
                <c:pt idx="46">
                  <c:v>18</c:v>
                </c:pt>
                <c:pt idx="47">
                  <c:v>16</c:v>
                </c:pt>
                <c:pt idx="48">
                  <c:v>16</c:v>
                </c:pt>
                <c:pt idx="49">
                  <c:v>15</c:v>
                </c:pt>
                <c:pt idx="50">
                  <c:v>16</c:v>
                </c:pt>
                <c:pt idx="51">
                  <c:v>17</c:v>
                </c:pt>
                <c:pt idx="52">
                  <c:v>17</c:v>
                </c:pt>
                <c:pt idx="53">
                  <c:v>16</c:v>
                </c:pt>
                <c:pt idx="54">
                  <c:v>14</c:v>
                </c:pt>
                <c:pt idx="55">
                  <c:v>14</c:v>
                </c:pt>
                <c:pt idx="56">
                  <c:v>14</c:v>
                </c:pt>
                <c:pt idx="57">
                  <c:v>13</c:v>
                </c:pt>
                <c:pt idx="58">
                  <c:v>13</c:v>
                </c:pt>
                <c:pt idx="59">
                  <c:v>11</c:v>
                </c:pt>
                <c:pt idx="60">
                  <c:v>12</c:v>
                </c:pt>
                <c:pt idx="61">
                  <c:v>14</c:v>
                </c:pt>
                <c:pt idx="62">
                  <c:v>13</c:v>
                </c:pt>
                <c:pt idx="63">
                  <c:v>12</c:v>
                </c:pt>
                <c:pt idx="64">
                  <c:v>12</c:v>
                </c:pt>
                <c:pt idx="65">
                  <c:v>12</c:v>
                </c:pt>
                <c:pt idx="66">
                  <c:v>13</c:v>
                </c:pt>
                <c:pt idx="67">
                  <c:v>17</c:v>
                </c:pt>
                <c:pt idx="68">
                  <c:v>17</c:v>
                </c:pt>
                <c:pt idx="69">
                  <c:v>17</c:v>
                </c:pt>
                <c:pt idx="70">
                  <c:v>16</c:v>
                </c:pt>
                <c:pt idx="71">
                  <c:v>16</c:v>
                </c:pt>
                <c:pt idx="72">
                  <c:v>16</c:v>
                </c:pt>
                <c:pt idx="73">
                  <c:v>15</c:v>
                </c:pt>
                <c:pt idx="74">
                  <c:v>15</c:v>
                </c:pt>
                <c:pt idx="75">
                  <c:v>17</c:v>
                </c:pt>
                <c:pt idx="76">
                  <c:v>19</c:v>
                </c:pt>
                <c:pt idx="77">
                  <c:v>20</c:v>
                </c:pt>
                <c:pt idx="78">
                  <c:v>18</c:v>
                </c:pt>
                <c:pt idx="79">
                  <c:v>17</c:v>
                </c:pt>
                <c:pt idx="80">
                  <c:v>17</c:v>
                </c:pt>
                <c:pt idx="81">
                  <c:v>19</c:v>
                </c:pt>
                <c:pt idx="82">
                  <c:v>19</c:v>
                </c:pt>
                <c:pt idx="83">
                  <c:v>22</c:v>
                </c:pt>
                <c:pt idx="84">
                  <c:v>22</c:v>
                </c:pt>
                <c:pt idx="85">
                  <c:v>25</c:v>
                </c:pt>
                <c:pt idx="86">
                  <c:v>26</c:v>
                </c:pt>
                <c:pt idx="87">
                  <c:v>27</c:v>
                </c:pt>
                <c:pt idx="88">
                  <c:v>26</c:v>
                </c:pt>
                <c:pt idx="89">
                  <c:v>24</c:v>
                </c:pt>
                <c:pt idx="90">
                  <c:v>23</c:v>
                </c:pt>
                <c:pt idx="91">
                  <c:v>22</c:v>
                </c:pt>
                <c:pt idx="92">
                  <c:v>23</c:v>
                </c:pt>
                <c:pt idx="93">
                  <c:v>23</c:v>
                </c:pt>
                <c:pt idx="94">
                  <c:v>23</c:v>
                </c:pt>
                <c:pt idx="95">
                  <c:v>19</c:v>
                </c:pt>
                <c:pt idx="96">
                  <c:v>21</c:v>
                </c:pt>
                <c:pt idx="97">
                  <c:v>19</c:v>
                </c:pt>
                <c:pt idx="98">
                  <c:v>18</c:v>
                </c:pt>
                <c:pt idx="99">
                  <c:v>15</c:v>
                </c:pt>
                <c:pt idx="100">
                  <c:v>14</c:v>
                </c:pt>
                <c:pt idx="101">
                  <c:v>11</c:v>
                </c:pt>
                <c:pt idx="102">
                  <c:v>13</c:v>
                </c:pt>
                <c:pt idx="103">
                  <c:v>15</c:v>
                </c:pt>
                <c:pt idx="104">
                  <c:v>17</c:v>
                </c:pt>
                <c:pt idx="105">
                  <c:v>17</c:v>
                </c:pt>
                <c:pt idx="106">
                  <c:v>19</c:v>
                </c:pt>
                <c:pt idx="107">
                  <c:v>20</c:v>
                </c:pt>
                <c:pt idx="108">
                  <c:v>21</c:v>
                </c:pt>
                <c:pt idx="109">
                  <c:v>23</c:v>
                </c:pt>
                <c:pt idx="110">
                  <c:v>25</c:v>
                </c:pt>
                <c:pt idx="111">
                  <c:v>26</c:v>
                </c:pt>
                <c:pt idx="112">
                  <c:v>26</c:v>
                </c:pt>
                <c:pt idx="113">
                  <c:v>26</c:v>
                </c:pt>
                <c:pt idx="114">
                  <c:v>26</c:v>
                </c:pt>
                <c:pt idx="115">
                  <c:v>26</c:v>
                </c:pt>
                <c:pt idx="116">
                  <c:v>28</c:v>
                </c:pt>
                <c:pt idx="117">
                  <c:v>29</c:v>
                </c:pt>
                <c:pt idx="118">
                  <c:v>26</c:v>
                </c:pt>
                <c:pt idx="119">
                  <c:v>27</c:v>
                </c:pt>
                <c:pt idx="120">
                  <c:v>26</c:v>
                </c:pt>
                <c:pt idx="121">
                  <c:v>26</c:v>
                </c:pt>
                <c:pt idx="122">
                  <c:v>25</c:v>
                </c:pt>
                <c:pt idx="123">
                  <c:v>20</c:v>
                </c:pt>
                <c:pt idx="124">
                  <c:v>21</c:v>
                </c:pt>
                <c:pt idx="125">
                  <c:v>19</c:v>
                </c:pt>
                <c:pt idx="126">
                  <c:v>24</c:v>
                </c:pt>
                <c:pt idx="127">
                  <c:v>30</c:v>
                </c:pt>
                <c:pt idx="128">
                  <c:v>31</c:v>
                </c:pt>
                <c:pt idx="129">
                  <c:v>29</c:v>
                </c:pt>
                <c:pt idx="130">
                  <c:v>27</c:v>
                </c:pt>
                <c:pt idx="131">
                  <c:v>32</c:v>
                </c:pt>
                <c:pt idx="132">
                  <c:v>32</c:v>
                </c:pt>
                <c:pt idx="133">
                  <c:v>34</c:v>
                </c:pt>
                <c:pt idx="134">
                  <c:v>34</c:v>
                </c:pt>
                <c:pt idx="135">
                  <c:v>33</c:v>
                </c:pt>
                <c:pt idx="136">
                  <c:v>34</c:v>
                </c:pt>
                <c:pt idx="137">
                  <c:v>35</c:v>
                </c:pt>
                <c:pt idx="138">
                  <c:v>37</c:v>
                </c:pt>
                <c:pt idx="139">
                  <c:v>39</c:v>
                </c:pt>
                <c:pt idx="140">
                  <c:v>41</c:v>
                </c:pt>
                <c:pt idx="141">
                  <c:v>40</c:v>
                </c:pt>
                <c:pt idx="142">
                  <c:v>42</c:v>
                </c:pt>
                <c:pt idx="143">
                  <c:v>43</c:v>
                </c:pt>
                <c:pt idx="144">
                  <c:v>50</c:v>
                </c:pt>
                <c:pt idx="145">
                  <c:v>52</c:v>
                </c:pt>
                <c:pt idx="146">
                  <c:v>57</c:v>
                </c:pt>
                <c:pt idx="147">
                  <c:v>60</c:v>
                </c:pt>
                <c:pt idx="148">
                  <c:v>67</c:v>
                </c:pt>
                <c:pt idx="149">
                  <c:v>73</c:v>
                </c:pt>
                <c:pt idx="150">
                  <c:v>75</c:v>
                </c:pt>
                <c:pt idx="151">
                  <c:v>77</c:v>
                </c:pt>
                <c:pt idx="152">
                  <c:v>82</c:v>
                </c:pt>
                <c:pt idx="153">
                  <c:v>88</c:v>
                </c:pt>
                <c:pt idx="154">
                  <c:v>96</c:v>
                </c:pt>
                <c:pt idx="155">
                  <c:v>98</c:v>
                </c:pt>
                <c:pt idx="156">
                  <c:v>99</c:v>
                </c:pt>
                <c:pt idx="157">
                  <c:v>105</c:v>
                </c:pt>
                <c:pt idx="158">
                  <c:v>104</c:v>
                </c:pt>
                <c:pt idx="159">
                  <c:v>112</c:v>
                </c:pt>
                <c:pt idx="160">
                  <c:v>116</c:v>
                </c:pt>
                <c:pt idx="161">
                  <c:v>118</c:v>
                </c:pt>
                <c:pt idx="162">
                  <c:v>118</c:v>
                </c:pt>
                <c:pt idx="163">
                  <c:v>118</c:v>
                </c:pt>
                <c:pt idx="164">
                  <c:v>116</c:v>
                </c:pt>
                <c:pt idx="165">
                  <c:v>126</c:v>
                </c:pt>
                <c:pt idx="166">
                  <c:v>138</c:v>
                </c:pt>
                <c:pt idx="167">
                  <c:v>138</c:v>
                </c:pt>
                <c:pt idx="168">
                  <c:v>146</c:v>
                </c:pt>
                <c:pt idx="169">
                  <c:v>156</c:v>
                </c:pt>
                <c:pt idx="170">
                  <c:v>161</c:v>
                </c:pt>
                <c:pt idx="171">
                  <c:v>164</c:v>
                </c:pt>
                <c:pt idx="172">
                  <c:v>186</c:v>
                </c:pt>
                <c:pt idx="173">
                  <c:v>197</c:v>
                </c:pt>
                <c:pt idx="174">
                  <c:v>213</c:v>
                </c:pt>
                <c:pt idx="175">
                  <c:v>251</c:v>
                </c:pt>
                <c:pt idx="176">
                  <c:v>278</c:v>
                </c:pt>
                <c:pt idx="177">
                  <c:v>307</c:v>
                </c:pt>
                <c:pt idx="178">
                  <c:v>310</c:v>
                </c:pt>
                <c:pt idx="179">
                  <c:v>367</c:v>
                </c:pt>
                <c:pt idx="180">
                  <c:v>427</c:v>
                </c:pt>
                <c:pt idx="181">
                  <c:v>489</c:v>
                </c:pt>
                <c:pt idx="182">
                  <c:v>5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4.662547463082748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9.04.21</c:v>
                </c:pt>
                <c:pt idx="1">
                  <c:v>30.04.21</c:v>
                </c:pt>
                <c:pt idx="2">
                  <c:v>01.05.21</c:v>
                </c:pt>
                <c:pt idx="3">
                  <c:v>02.05.21</c:v>
                </c:pt>
                <c:pt idx="4">
                  <c:v>03.05.21</c:v>
                </c:pt>
                <c:pt idx="5">
                  <c:v>04.05.21</c:v>
                </c:pt>
                <c:pt idx="6">
                  <c:v>05.05.21</c:v>
                </c:pt>
                <c:pt idx="7">
                  <c:v>06.05.21</c:v>
                </c:pt>
                <c:pt idx="8">
                  <c:v>07.05.21</c:v>
                </c:pt>
                <c:pt idx="9">
                  <c:v>08.05.21</c:v>
                </c:pt>
                <c:pt idx="10">
                  <c:v>09.05.21</c:v>
                </c:pt>
                <c:pt idx="11">
                  <c:v>10.05.21</c:v>
                </c:pt>
                <c:pt idx="12">
                  <c:v>11.05.21</c:v>
                </c:pt>
                <c:pt idx="13">
                  <c:v>12.05.21</c:v>
                </c:pt>
                <c:pt idx="14">
                  <c:v>13.05.21</c:v>
                </c:pt>
                <c:pt idx="15">
                  <c:v>14.05.21</c:v>
                </c:pt>
                <c:pt idx="16">
                  <c:v>15.05.21</c:v>
                </c:pt>
                <c:pt idx="17">
                  <c:v>16.05.21</c:v>
                </c:pt>
                <c:pt idx="18">
                  <c:v>17.05.21</c:v>
                </c:pt>
                <c:pt idx="19">
                  <c:v>18.05.21</c:v>
                </c:pt>
                <c:pt idx="20">
                  <c:v>19.05.21</c:v>
                </c:pt>
                <c:pt idx="21">
                  <c:v>20.05.21</c:v>
                </c:pt>
                <c:pt idx="22">
                  <c:v>21.05.21</c:v>
                </c:pt>
                <c:pt idx="23">
                  <c:v>22.05.21</c:v>
                </c:pt>
                <c:pt idx="24">
                  <c:v>23.05.21</c:v>
                </c:pt>
                <c:pt idx="25">
                  <c:v>24.05.21</c:v>
                </c:pt>
                <c:pt idx="26">
                  <c:v>25.05.21</c:v>
                </c:pt>
                <c:pt idx="27">
                  <c:v>26.05.21</c:v>
                </c:pt>
                <c:pt idx="28">
                  <c:v>27.05.21</c:v>
                </c:pt>
                <c:pt idx="29">
                  <c:v>28.05.21</c:v>
                </c:pt>
                <c:pt idx="30">
                  <c:v>29.05.21</c:v>
                </c:pt>
                <c:pt idx="31">
                  <c:v>30.05.21</c:v>
                </c:pt>
                <c:pt idx="32">
                  <c:v>31.05.21</c:v>
                </c:pt>
                <c:pt idx="33">
                  <c:v>01.06.21</c:v>
                </c:pt>
                <c:pt idx="34">
                  <c:v>02.06.21</c:v>
                </c:pt>
                <c:pt idx="35">
                  <c:v>03.06.21</c:v>
                </c:pt>
                <c:pt idx="36">
                  <c:v>04.06.21</c:v>
                </c:pt>
                <c:pt idx="37">
                  <c:v>05.06.21</c:v>
                </c:pt>
                <c:pt idx="38">
                  <c:v>06.06.21</c:v>
                </c:pt>
                <c:pt idx="39">
                  <c:v>07.06.21</c:v>
                </c:pt>
                <c:pt idx="40">
                  <c:v>08.06.21</c:v>
                </c:pt>
                <c:pt idx="41">
                  <c:v>09.06.21</c:v>
                </c:pt>
                <c:pt idx="42">
                  <c:v>10.06.21</c:v>
                </c:pt>
                <c:pt idx="43">
                  <c:v>11.06.21</c:v>
                </c:pt>
                <c:pt idx="44">
                  <c:v>12.06.21</c:v>
                </c:pt>
                <c:pt idx="45">
                  <c:v>13.06.21</c:v>
                </c:pt>
                <c:pt idx="46">
                  <c:v>14.06.21</c:v>
                </c:pt>
                <c:pt idx="47">
                  <c:v>15.06.21</c:v>
                </c:pt>
                <c:pt idx="48">
                  <c:v>16.06.21</c:v>
                </c:pt>
                <c:pt idx="49">
                  <c:v>17.06.21</c:v>
                </c:pt>
                <c:pt idx="50">
                  <c:v>18.06.21</c:v>
                </c:pt>
                <c:pt idx="51">
                  <c:v>19.06.21</c:v>
                </c:pt>
                <c:pt idx="52">
                  <c:v>20.06.21</c:v>
                </c:pt>
                <c:pt idx="53">
                  <c:v>21.06.21</c:v>
                </c:pt>
                <c:pt idx="54">
                  <c:v>22.06.21</c:v>
                </c:pt>
                <c:pt idx="55">
                  <c:v>23.06.21</c:v>
                </c:pt>
                <c:pt idx="56">
                  <c:v>24.06.21</c:v>
                </c:pt>
                <c:pt idx="57">
                  <c:v>25.06.21</c:v>
                </c:pt>
                <c:pt idx="58">
                  <c:v>26.06.21</c:v>
                </c:pt>
                <c:pt idx="59">
                  <c:v>27.06.21</c:v>
                </c:pt>
                <c:pt idx="60">
                  <c:v>28.06.21</c:v>
                </c:pt>
                <c:pt idx="61">
                  <c:v>29.06.21</c:v>
                </c:pt>
                <c:pt idx="62">
                  <c:v>30.06.21</c:v>
                </c:pt>
                <c:pt idx="63">
                  <c:v>01.07.21</c:v>
                </c:pt>
                <c:pt idx="64">
                  <c:v>02.07.21</c:v>
                </c:pt>
                <c:pt idx="65">
                  <c:v>03.07.21</c:v>
                </c:pt>
                <c:pt idx="66">
                  <c:v>04.07.21</c:v>
                </c:pt>
                <c:pt idx="67">
                  <c:v>05.07.21</c:v>
                </c:pt>
                <c:pt idx="68">
                  <c:v>06.07.21</c:v>
                </c:pt>
                <c:pt idx="69">
                  <c:v>07.07.21</c:v>
                </c:pt>
                <c:pt idx="70">
                  <c:v>08.07.21</c:v>
                </c:pt>
                <c:pt idx="71">
                  <c:v>09.07.21</c:v>
                </c:pt>
                <c:pt idx="72">
                  <c:v>10.07.21</c:v>
                </c:pt>
                <c:pt idx="73">
                  <c:v>11.07.21</c:v>
                </c:pt>
                <c:pt idx="74">
                  <c:v>12.07.21</c:v>
                </c:pt>
                <c:pt idx="75">
                  <c:v>13.07.21</c:v>
                </c:pt>
                <c:pt idx="76">
                  <c:v>14.07.21</c:v>
                </c:pt>
                <c:pt idx="77">
                  <c:v>15.07.21</c:v>
                </c:pt>
                <c:pt idx="78">
                  <c:v>16.07.21</c:v>
                </c:pt>
                <c:pt idx="79">
                  <c:v>17.07.21</c:v>
                </c:pt>
                <c:pt idx="80">
                  <c:v>18.07.21</c:v>
                </c:pt>
                <c:pt idx="81">
                  <c:v>19.07.21</c:v>
                </c:pt>
                <c:pt idx="82">
                  <c:v>20.07.21</c:v>
                </c:pt>
                <c:pt idx="83">
                  <c:v>21.07.21</c:v>
                </c:pt>
                <c:pt idx="84">
                  <c:v>22.07.21</c:v>
                </c:pt>
                <c:pt idx="85">
                  <c:v>23.07.21</c:v>
                </c:pt>
                <c:pt idx="86">
                  <c:v>24.07.21</c:v>
                </c:pt>
                <c:pt idx="87">
                  <c:v>25.07.21</c:v>
                </c:pt>
                <c:pt idx="88">
                  <c:v>26.07.21</c:v>
                </c:pt>
                <c:pt idx="89">
                  <c:v>27.07.21</c:v>
                </c:pt>
                <c:pt idx="90">
                  <c:v>28.07.21</c:v>
                </c:pt>
                <c:pt idx="91">
                  <c:v>29.07.21</c:v>
                </c:pt>
                <c:pt idx="92">
                  <c:v>30.07.21</c:v>
                </c:pt>
                <c:pt idx="93">
                  <c:v>31.07.21</c:v>
                </c:pt>
                <c:pt idx="94">
                  <c:v>01.08.21</c:v>
                </c:pt>
                <c:pt idx="95">
                  <c:v>02.08.21</c:v>
                </c:pt>
                <c:pt idx="96">
                  <c:v>03.08.21</c:v>
                </c:pt>
                <c:pt idx="97">
                  <c:v>04.08.21</c:v>
                </c:pt>
                <c:pt idx="98">
                  <c:v>05.08.21</c:v>
                </c:pt>
                <c:pt idx="99">
                  <c:v>06.08.21</c:v>
                </c:pt>
                <c:pt idx="100">
                  <c:v>07.08.21</c:v>
                </c:pt>
                <c:pt idx="101">
                  <c:v>08.08.21</c:v>
                </c:pt>
                <c:pt idx="102">
                  <c:v>09.08.21</c:v>
                </c:pt>
                <c:pt idx="103">
                  <c:v>10.08.21</c:v>
                </c:pt>
                <c:pt idx="104">
                  <c:v>11.08.21</c:v>
                </c:pt>
                <c:pt idx="105">
                  <c:v>12.08.21</c:v>
                </c:pt>
                <c:pt idx="106">
                  <c:v>13.08.21</c:v>
                </c:pt>
                <c:pt idx="107">
                  <c:v>14.08.21</c:v>
                </c:pt>
                <c:pt idx="108">
                  <c:v>15.08.21</c:v>
                </c:pt>
                <c:pt idx="109">
                  <c:v>16.08.21</c:v>
                </c:pt>
                <c:pt idx="110">
                  <c:v>17.08.21</c:v>
                </c:pt>
                <c:pt idx="111">
                  <c:v>18.08.21</c:v>
                </c:pt>
                <c:pt idx="112">
                  <c:v>19.08.21</c:v>
                </c:pt>
                <c:pt idx="113">
                  <c:v>20.08.21</c:v>
                </c:pt>
                <c:pt idx="114">
                  <c:v>21.08.21</c:v>
                </c:pt>
                <c:pt idx="115">
                  <c:v>22.08.21</c:v>
                </c:pt>
                <c:pt idx="116">
                  <c:v>23.08.21</c:v>
                </c:pt>
                <c:pt idx="117">
                  <c:v>24.08.21</c:v>
                </c:pt>
                <c:pt idx="118">
                  <c:v>25.08.21</c:v>
                </c:pt>
                <c:pt idx="119">
                  <c:v>26.08.21</c:v>
                </c:pt>
                <c:pt idx="120">
                  <c:v>27.08.21</c:v>
                </c:pt>
                <c:pt idx="121">
                  <c:v>28.08.21</c:v>
                </c:pt>
                <c:pt idx="122">
                  <c:v>29.08.21</c:v>
                </c:pt>
                <c:pt idx="123">
                  <c:v>30.08.21</c:v>
                </c:pt>
                <c:pt idx="124">
                  <c:v>31.08.21</c:v>
                </c:pt>
                <c:pt idx="125">
                  <c:v>01.09.21</c:v>
                </c:pt>
                <c:pt idx="126">
                  <c:v>02.09.21</c:v>
                </c:pt>
                <c:pt idx="127">
                  <c:v>03.09.21</c:v>
                </c:pt>
                <c:pt idx="128">
                  <c:v>04.09.21</c:v>
                </c:pt>
                <c:pt idx="129">
                  <c:v>05.09.21</c:v>
                </c:pt>
                <c:pt idx="130">
                  <c:v>06.09.21</c:v>
                </c:pt>
                <c:pt idx="131">
                  <c:v>07.09.21</c:v>
                </c:pt>
                <c:pt idx="132">
                  <c:v>08.09.21</c:v>
                </c:pt>
                <c:pt idx="133">
                  <c:v>09.09.21</c:v>
                </c:pt>
                <c:pt idx="134">
                  <c:v>10.09.21</c:v>
                </c:pt>
                <c:pt idx="135">
                  <c:v>11.09.21</c:v>
                </c:pt>
                <c:pt idx="136">
                  <c:v>12.09.21</c:v>
                </c:pt>
                <c:pt idx="137">
                  <c:v>13.09.21</c:v>
                </c:pt>
                <c:pt idx="138">
                  <c:v>14.09.21</c:v>
                </c:pt>
                <c:pt idx="139">
                  <c:v>15.09.21</c:v>
                </c:pt>
                <c:pt idx="140">
                  <c:v>16.09.21</c:v>
                </c:pt>
                <c:pt idx="141">
                  <c:v>17.09.21</c:v>
                </c:pt>
                <c:pt idx="142">
                  <c:v>18.09.21</c:v>
                </c:pt>
                <c:pt idx="143">
                  <c:v>19.09.21</c:v>
                </c:pt>
                <c:pt idx="144">
                  <c:v>20.09.21</c:v>
                </c:pt>
                <c:pt idx="145">
                  <c:v>21.09.21</c:v>
                </c:pt>
                <c:pt idx="146">
                  <c:v>22.09.21</c:v>
                </c:pt>
                <c:pt idx="147">
                  <c:v>23.09.21</c:v>
                </c:pt>
                <c:pt idx="148">
                  <c:v>24.09.21</c:v>
                </c:pt>
                <c:pt idx="149">
                  <c:v>25.09.21</c:v>
                </c:pt>
                <c:pt idx="150">
                  <c:v>26.09.21</c:v>
                </c:pt>
                <c:pt idx="151">
                  <c:v>27.09.21</c:v>
                </c:pt>
                <c:pt idx="152">
                  <c:v>28.09.21</c:v>
                </c:pt>
                <c:pt idx="153">
                  <c:v>29.09.21</c:v>
                </c:pt>
                <c:pt idx="154">
                  <c:v>30.09.21</c:v>
                </c:pt>
                <c:pt idx="155">
                  <c:v>01.10.21</c:v>
                </c:pt>
                <c:pt idx="156">
                  <c:v>02.10.21</c:v>
                </c:pt>
                <c:pt idx="157">
                  <c:v>03.10.21</c:v>
                </c:pt>
                <c:pt idx="158">
                  <c:v>04.10.21</c:v>
                </c:pt>
                <c:pt idx="159">
                  <c:v>05.10.21</c:v>
                </c:pt>
                <c:pt idx="160">
                  <c:v>06.10.21</c:v>
                </c:pt>
                <c:pt idx="161">
                  <c:v>07.10.21</c:v>
                </c:pt>
                <c:pt idx="162">
                  <c:v>08.10.21</c:v>
                </c:pt>
                <c:pt idx="163">
                  <c:v>09.10.21</c:v>
                </c:pt>
                <c:pt idx="164">
                  <c:v>10.10.21</c:v>
                </c:pt>
                <c:pt idx="165">
                  <c:v>11.10.21</c:v>
                </c:pt>
                <c:pt idx="166">
                  <c:v>12.10.21</c:v>
                </c:pt>
                <c:pt idx="167">
                  <c:v>13.10.21</c:v>
                </c:pt>
                <c:pt idx="168">
                  <c:v>14.10.21</c:v>
                </c:pt>
                <c:pt idx="169">
                  <c:v>15.10.21</c:v>
                </c:pt>
                <c:pt idx="170">
                  <c:v>16.10.21</c:v>
                </c:pt>
                <c:pt idx="171">
                  <c:v>17.10.21</c:v>
                </c:pt>
                <c:pt idx="172">
                  <c:v>18.10.21</c:v>
                </c:pt>
                <c:pt idx="173">
                  <c:v>19.10.21</c:v>
                </c:pt>
                <c:pt idx="174">
                  <c:v>20.10.21</c:v>
                </c:pt>
                <c:pt idx="175">
                  <c:v>21.10.21</c:v>
                </c:pt>
                <c:pt idx="176">
                  <c:v>22.10.21</c:v>
                </c:pt>
                <c:pt idx="177">
                  <c:v>23.10.21</c:v>
                </c:pt>
                <c:pt idx="178">
                  <c:v>24.10.21</c:v>
                </c:pt>
                <c:pt idx="179">
                  <c:v>25.10.21</c:v>
                </c:pt>
                <c:pt idx="180">
                  <c:v>26.10.21</c:v>
                </c:pt>
                <c:pt idx="181">
                  <c:v>27.10.21</c:v>
                </c:pt>
                <c:pt idx="182">
                  <c:v>28.10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227</c:v>
                </c:pt>
                <c:pt idx="1">
                  <c:v>225</c:v>
                </c:pt>
                <c:pt idx="2">
                  <c:v>223</c:v>
                </c:pt>
                <c:pt idx="3">
                  <c:v>222</c:v>
                </c:pt>
                <c:pt idx="4">
                  <c:v>204</c:v>
                </c:pt>
                <c:pt idx="5">
                  <c:v>194</c:v>
                </c:pt>
                <c:pt idx="6">
                  <c:v>182</c:v>
                </c:pt>
                <c:pt idx="7">
                  <c:v>183</c:v>
                </c:pt>
                <c:pt idx="8">
                  <c:v>184</c:v>
                </c:pt>
                <c:pt idx="9">
                  <c:v>185</c:v>
                </c:pt>
                <c:pt idx="10">
                  <c:v>182</c:v>
                </c:pt>
                <c:pt idx="11">
                  <c:v>167</c:v>
                </c:pt>
                <c:pt idx="12">
                  <c:v>168</c:v>
                </c:pt>
                <c:pt idx="13">
                  <c:v>163</c:v>
                </c:pt>
                <c:pt idx="14">
                  <c:v>151</c:v>
                </c:pt>
                <c:pt idx="15">
                  <c:v>141</c:v>
                </c:pt>
                <c:pt idx="16">
                  <c:v>143</c:v>
                </c:pt>
                <c:pt idx="17">
                  <c:v>143</c:v>
                </c:pt>
                <c:pt idx="18">
                  <c:v>132</c:v>
                </c:pt>
                <c:pt idx="19">
                  <c:v>123</c:v>
                </c:pt>
                <c:pt idx="20">
                  <c:v>112</c:v>
                </c:pt>
                <c:pt idx="21">
                  <c:v>106</c:v>
                </c:pt>
                <c:pt idx="22">
                  <c:v>96</c:v>
                </c:pt>
                <c:pt idx="23">
                  <c:v>95</c:v>
                </c:pt>
                <c:pt idx="24">
                  <c:v>93</c:v>
                </c:pt>
                <c:pt idx="25">
                  <c:v>85</c:v>
                </c:pt>
                <c:pt idx="26">
                  <c:v>71</c:v>
                </c:pt>
                <c:pt idx="27">
                  <c:v>65</c:v>
                </c:pt>
                <c:pt idx="28">
                  <c:v>56</c:v>
                </c:pt>
                <c:pt idx="29">
                  <c:v>47</c:v>
                </c:pt>
                <c:pt idx="30">
                  <c:v>46</c:v>
                </c:pt>
                <c:pt idx="31">
                  <c:v>46</c:v>
                </c:pt>
                <c:pt idx="32">
                  <c:v>40</c:v>
                </c:pt>
                <c:pt idx="33">
                  <c:v>35</c:v>
                </c:pt>
                <c:pt idx="34">
                  <c:v>30</c:v>
                </c:pt>
                <c:pt idx="35">
                  <c:v>28</c:v>
                </c:pt>
                <c:pt idx="36">
                  <c:v>24</c:v>
                </c:pt>
                <c:pt idx="37">
                  <c:v>25</c:v>
                </c:pt>
                <c:pt idx="38">
                  <c:v>24</c:v>
                </c:pt>
                <c:pt idx="39">
                  <c:v>21</c:v>
                </c:pt>
                <c:pt idx="40">
                  <c:v>19</c:v>
                </c:pt>
                <c:pt idx="41">
                  <c:v>18</c:v>
                </c:pt>
                <c:pt idx="42">
                  <c:v>17</c:v>
                </c:pt>
                <c:pt idx="43">
                  <c:v>15</c:v>
                </c:pt>
                <c:pt idx="44">
                  <c:v>15</c:v>
                </c:pt>
                <c:pt idx="45">
                  <c:v>15</c:v>
                </c:pt>
                <c:pt idx="46">
                  <c:v>12</c:v>
                </c:pt>
                <c:pt idx="47">
                  <c:v>11</c:v>
                </c:pt>
                <c:pt idx="48">
                  <c:v>12</c:v>
                </c:pt>
                <c:pt idx="49">
                  <c:v>13</c:v>
                </c:pt>
                <c:pt idx="50">
                  <c:v>13</c:v>
                </c:pt>
                <c:pt idx="51">
                  <c:v>11</c:v>
                </c:pt>
                <c:pt idx="52">
                  <c:v>12</c:v>
                </c:pt>
                <c:pt idx="53">
                  <c:v>11</c:v>
                </c:pt>
                <c:pt idx="54">
                  <c:v>9</c:v>
                </c:pt>
                <c:pt idx="55">
                  <c:v>11</c:v>
                </c:pt>
                <c:pt idx="56">
                  <c:v>12</c:v>
                </c:pt>
                <c:pt idx="57">
                  <c:v>11</c:v>
                </c:pt>
                <c:pt idx="58">
                  <c:v>12</c:v>
                </c:pt>
                <c:pt idx="59">
                  <c:v>14</c:v>
                </c:pt>
                <c:pt idx="60">
                  <c:v>14</c:v>
                </c:pt>
                <c:pt idx="61">
                  <c:v>15</c:v>
                </c:pt>
                <c:pt idx="62">
                  <c:v>15</c:v>
                </c:pt>
                <c:pt idx="63">
                  <c:v>14</c:v>
                </c:pt>
                <c:pt idx="64">
                  <c:v>15</c:v>
                </c:pt>
                <c:pt idx="65">
                  <c:v>13</c:v>
                </c:pt>
                <c:pt idx="66">
                  <c:v>13</c:v>
                </c:pt>
                <c:pt idx="67">
                  <c:v>13</c:v>
                </c:pt>
                <c:pt idx="68">
                  <c:v>13</c:v>
                </c:pt>
                <c:pt idx="69">
                  <c:v>13</c:v>
                </c:pt>
                <c:pt idx="70">
                  <c:v>17</c:v>
                </c:pt>
                <c:pt idx="71">
                  <c:v>20</c:v>
                </c:pt>
                <c:pt idx="72">
                  <c:v>19</c:v>
                </c:pt>
                <c:pt idx="73">
                  <c:v>18</c:v>
                </c:pt>
                <c:pt idx="74">
                  <c:v>20</c:v>
                </c:pt>
                <c:pt idx="75">
                  <c:v>20</c:v>
                </c:pt>
                <c:pt idx="76">
                  <c:v>24</c:v>
                </c:pt>
                <c:pt idx="77">
                  <c:v>26</c:v>
                </c:pt>
                <c:pt idx="78">
                  <c:v>30</c:v>
                </c:pt>
                <c:pt idx="79">
                  <c:v>31</c:v>
                </c:pt>
                <c:pt idx="80">
                  <c:v>32</c:v>
                </c:pt>
                <c:pt idx="81">
                  <c:v>34</c:v>
                </c:pt>
                <c:pt idx="82">
                  <c:v>39</c:v>
                </c:pt>
                <c:pt idx="83">
                  <c:v>38</c:v>
                </c:pt>
                <c:pt idx="84">
                  <c:v>37</c:v>
                </c:pt>
                <c:pt idx="85">
                  <c:v>36</c:v>
                </c:pt>
                <c:pt idx="86">
                  <c:v>36</c:v>
                </c:pt>
                <c:pt idx="87">
                  <c:v>36</c:v>
                </c:pt>
                <c:pt idx="88">
                  <c:v>37</c:v>
                </c:pt>
                <c:pt idx="89">
                  <c:v>41</c:v>
                </c:pt>
                <c:pt idx="90">
                  <c:v>38</c:v>
                </c:pt>
                <c:pt idx="91">
                  <c:v>37</c:v>
                </c:pt>
                <c:pt idx="92">
                  <c:v>35</c:v>
                </c:pt>
                <c:pt idx="93">
                  <c:v>35</c:v>
                </c:pt>
                <c:pt idx="94">
                  <c:v>33</c:v>
                </c:pt>
                <c:pt idx="95">
                  <c:v>31</c:v>
                </c:pt>
                <c:pt idx="96">
                  <c:v>33</c:v>
                </c:pt>
                <c:pt idx="97">
                  <c:v>35</c:v>
                </c:pt>
                <c:pt idx="98">
                  <c:v>31</c:v>
                </c:pt>
                <c:pt idx="99">
                  <c:v>32</c:v>
                </c:pt>
                <c:pt idx="100">
                  <c:v>32</c:v>
                </c:pt>
                <c:pt idx="101">
                  <c:v>30</c:v>
                </c:pt>
                <c:pt idx="102">
                  <c:v>32</c:v>
                </c:pt>
                <c:pt idx="103">
                  <c:v>31</c:v>
                </c:pt>
                <c:pt idx="104">
                  <c:v>31</c:v>
                </c:pt>
                <c:pt idx="105">
                  <c:v>30</c:v>
                </c:pt>
                <c:pt idx="106">
                  <c:v>35</c:v>
                </c:pt>
                <c:pt idx="107">
                  <c:v>36</c:v>
                </c:pt>
                <c:pt idx="108">
                  <c:v>36</c:v>
                </c:pt>
                <c:pt idx="109">
                  <c:v>34</c:v>
                </c:pt>
                <c:pt idx="110">
                  <c:v>31</c:v>
                </c:pt>
                <c:pt idx="111">
                  <c:v>30</c:v>
                </c:pt>
                <c:pt idx="112">
                  <c:v>28</c:v>
                </c:pt>
                <c:pt idx="113">
                  <c:v>30</c:v>
                </c:pt>
                <c:pt idx="114">
                  <c:v>30</c:v>
                </c:pt>
                <c:pt idx="115">
                  <c:v>31</c:v>
                </c:pt>
                <c:pt idx="116">
                  <c:v>28</c:v>
                </c:pt>
                <c:pt idx="117">
                  <c:v>28</c:v>
                </c:pt>
                <c:pt idx="118">
                  <c:v>32</c:v>
                </c:pt>
                <c:pt idx="119">
                  <c:v>30</c:v>
                </c:pt>
                <c:pt idx="120">
                  <c:v>29</c:v>
                </c:pt>
                <c:pt idx="121">
                  <c:v>27</c:v>
                </c:pt>
                <c:pt idx="122">
                  <c:v>28</c:v>
                </c:pt>
                <c:pt idx="123">
                  <c:v>26</c:v>
                </c:pt>
                <c:pt idx="124">
                  <c:v>27</c:v>
                </c:pt>
                <c:pt idx="125">
                  <c:v>30</c:v>
                </c:pt>
                <c:pt idx="126">
                  <c:v>34</c:v>
                </c:pt>
                <c:pt idx="127">
                  <c:v>36</c:v>
                </c:pt>
                <c:pt idx="128">
                  <c:v>40</c:v>
                </c:pt>
                <c:pt idx="129">
                  <c:v>39</c:v>
                </c:pt>
                <c:pt idx="130">
                  <c:v>44</c:v>
                </c:pt>
                <c:pt idx="131">
                  <c:v>46</c:v>
                </c:pt>
                <c:pt idx="132">
                  <c:v>43</c:v>
                </c:pt>
                <c:pt idx="133">
                  <c:v>42</c:v>
                </c:pt>
                <c:pt idx="134">
                  <c:v>44</c:v>
                </c:pt>
                <c:pt idx="135">
                  <c:v>43</c:v>
                </c:pt>
                <c:pt idx="136">
                  <c:v>46</c:v>
                </c:pt>
                <c:pt idx="137">
                  <c:v>47</c:v>
                </c:pt>
                <c:pt idx="138">
                  <c:v>46</c:v>
                </c:pt>
                <c:pt idx="139">
                  <c:v>50</c:v>
                </c:pt>
                <c:pt idx="140">
                  <c:v>53</c:v>
                </c:pt>
                <c:pt idx="141">
                  <c:v>51</c:v>
                </c:pt>
                <c:pt idx="142">
                  <c:v>50</c:v>
                </c:pt>
                <c:pt idx="143">
                  <c:v>53</c:v>
                </c:pt>
                <c:pt idx="144">
                  <c:v>53</c:v>
                </c:pt>
                <c:pt idx="145">
                  <c:v>60</c:v>
                </c:pt>
                <c:pt idx="146">
                  <c:v>67</c:v>
                </c:pt>
                <c:pt idx="147">
                  <c:v>69</c:v>
                </c:pt>
                <c:pt idx="148">
                  <c:v>72</c:v>
                </c:pt>
                <c:pt idx="149">
                  <c:v>75</c:v>
                </c:pt>
                <c:pt idx="150">
                  <c:v>74</c:v>
                </c:pt>
                <c:pt idx="151">
                  <c:v>77</c:v>
                </c:pt>
                <c:pt idx="152">
                  <c:v>82</c:v>
                </c:pt>
                <c:pt idx="153">
                  <c:v>83</c:v>
                </c:pt>
                <c:pt idx="154">
                  <c:v>88</c:v>
                </c:pt>
                <c:pt idx="155">
                  <c:v>91</c:v>
                </c:pt>
                <c:pt idx="156">
                  <c:v>93</c:v>
                </c:pt>
                <c:pt idx="157">
                  <c:v>95</c:v>
                </c:pt>
                <c:pt idx="158">
                  <c:v>95</c:v>
                </c:pt>
                <c:pt idx="159">
                  <c:v>97</c:v>
                </c:pt>
                <c:pt idx="160">
                  <c:v>106</c:v>
                </c:pt>
                <c:pt idx="161">
                  <c:v>112</c:v>
                </c:pt>
                <c:pt idx="162">
                  <c:v>118</c:v>
                </c:pt>
                <c:pt idx="163">
                  <c:v>124</c:v>
                </c:pt>
                <c:pt idx="164">
                  <c:v>126</c:v>
                </c:pt>
                <c:pt idx="165">
                  <c:v>135</c:v>
                </c:pt>
                <c:pt idx="166">
                  <c:v>164</c:v>
                </c:pt>
                <c:pt idx="167">
                  <c:v>170</c:v>
                </c:pt>
                <c:pt idx="168">
                  <c:v>178</c:v>
                </c:pt>
                <c:pt idx="169">
                  <c:v>181</c:v>
                </c:pt>
                <c:pt idx="170">
                  <c:v>187</c:v>
                </c:pt>
                <c:pt idx="171">
                  <c:v>191</c:v>
                </c:pt>
                <c:pt idx="172">
                  <c:v>219</c:v>
                </c:pt>
                <c:pt idx="173">
                  <c:v>259</c:v>
                </c:pt>
                <c:pt idx="174">
                  <c:v>294</c:v>
                </c:pt>
                <c:pt idx="175">
                  <c:v>332</c:v>
                </c:pt>
                <c:pt idx="176">
                  <c:v>359</c:v>
                </c:pt>
                <c:pt idx="177">
                  <c:v>381</c:v>
                </c:pt>
                <c:pt idx="178">
                  <c:v>394</c:v>
                </c:pt>
                <c:pt idx="179">
                  <c:v>463</c:v>
                </c:pt>
                <c:pt idx="180">
                  <c:v>537</c:v>
                </c:pt>
                <c:pt idx="181">
                  <c:v>589</c:v>
                </c:pt>
                <c:pt idx="182">
                  <c:v>6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aj Vysočina</c:v>
                </c:pt>
                <c:pt idx="2">
                  <c:v>Královéhradecký kraj</c:v>
                </c:pt>
                <c:pt idx="3">
                  <c:v>Liberecký kraj</c:v>
                </c:pt>
                <c:pt idx="4">
                  <c:v>Středočeský kraj</c:v>
                </c:pt>
                <c:pt idx="5">
                  <c:v>Hlavní město Praha</c:v>
                </c:pt>
                <c:pt idx="6">
                  <c:v>Ústecký kraj</c:v>
                </c:pt>
                <c:pt idx="7">
                  <c:v>Pardubický kraj</c:v>
                </c:pt>
                <c:pt idx="8">
                  <c:v>Jihočeský kraj</c:v>
                </c:pt>
                <c:pt idx="9">
                  <c:v>ČR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1.757050000000007</c:v>
                </c:pt>
                <c:pt idx="1">
                  <c:v>88.517110000000002</c:v>
                </c:pt>
                <c:pt idx="2">
                  <c:v>88.295169999999999</c:v>
                </c:pt>
                <c:pt idx="3">
                  <c:v>88.239940000000004</c:v>
                </c:pt>
                <c:pt idx="4">
                  <c:v>88.100210000000004</c:v>
                </c:pt>
                <c:pt idx="5">
                  <c:v>87.930530000000005</c:v>
                </c:pt>
                <c:pt idx="6">
                  <c:v>87.64479</c:v>
                </c:pt>
                <c:pt idx="7">
                  <c:v>87.369209999999995</c:v>
                </c:pt>
                <c:pt idx="8">
                  <c:v>86.728700000000003</c:v>
                </c:pt>
                <c:pt idx="9">
                  <c:v>86.161190000000005</c:v>
                </c:pt>
                <c:pt idx="10">
                  <c:v>85.504589999999993</c:v>
                </c:pt>
                <c:pt idx="11">
                  <c:v>83.564760000000007</c:v>
                </c:pt>
                <c:pt idx="12">
                  <c:v>82.553190000000001</c:v>
                </c:pt>
                <c:pt idx="13">
                  <c:v>82.241150000000005</c:v>
                </c:pt>
                <c:pt idx="14">
                  <c:v>81.61332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Hlavní město Praha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4.221170000000001</c:v>
                </c:pt>
                <c:pt idx="1">
                  <c:v>83.966239999999999</c:v>
                </c:pt>
                <c:pt idx="2">
                  <c:v>83.285409999999999</c:v>
                </c:pt>
                <c:pt idx="3">
                  <c:v>83.186710000000005</c:v>
                </c:pt>
                <c:pt idx="4">
                  <c:v>82.951099999999997</c:v>
                </c:pt>
                <c:pt idx="5">
                  <c:v>81.869690000000006</c:v>
                </c:pt>
                <c:pt idx="6">
                  <c:v>80.027839999999998</c:v>
                </c:pt>
                <c:pt idx="7">
                  <c:v>79.519660000000002</c:v>
                </c:pt>
                <c:pt idx="8">
                  <c:v>79.234970000000004</c:v>
                </c:pt>
                <c:pt idx="9">
                  <c:v>78.502330000000001</c:v>
                </c:pt>
                <c:pt idx="10">
                  <c:v>77.866479999999996</c:v>
                </c:pt>
                <c:pt idx="11">
                  <c:v>76.031859999999995</c:v>
                </c:pt>
                <c:pt idx="12">
                  <c:v>73.158460000000005</c:v>
                </c:pt>
                <c:pt idx="13">
                  <c:v>72.738060000000004</c:v>
                </c:pt>
                <c:pt idx="14">
                  <c:v>71.40537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6</c:f>
              <c:strCache>
                <c:ptCount val="35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19 Farmaceutický asistent</c:v>
                </c:pt>
                <c:pt idx="4">
                  <c:v>§ 9 Zdravotní labora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16 Zubní technik</c:v>
                </c:pt>
                <c:pt idx="10">
                  <c:v>§ 26 Odborný pracovník v laboratorních metodách a v přípravě léčivých přípravků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22 Psycholog ve zdravotnictví</c:v>
                </c:pt>
                <c:pt idx="15">
                  <c:v>§ 37 Masér ve zdravotnictví, nevidomý a slabozraký masér ve zdravotnictví</c:v>
                </c:pt>
                <c:pt idx="16">
                  <c:v>§ 11 Optometrista</c:v>
                </c:pt>
                <c:pt idx="17">
                  <c:v>§ 10 Zdravotně-sociální pracovník</c:v>
                </c:pt>
                <c:pt idx="18">
                  <c:v>§ 15 Nutriční terapeut</c:v>
                </c:pt>
                <c:pt idx="19">
                  <c:v>§ 7 Ergoterapeut</c:v>
                </c:pt>
                <c:pt idx="20">
                  <c:v>§ 30 Laboratorní asistent</c:v>
                </c:pt>
                <c:pt idx="21">
                  <c:v>§ 23 Logoped ve zdravotnictví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20 Biomedicínský technik</c:v>
                </c:pt>
                <c:pt idx="29">
                  <c:v>§ 25 Radiologický fyzik</c:v>
                </c:pt>
                <c:pt idx="30">
                  <c:v>§ 31 Ortoticko-protetický technik</c:v>
                </c:pt>
                <c:pt idx="31">
                  <c:v>§ 32 Nutriční asistent</c:v>
                </c:pt>
                <c:pt idx="32">
                  <c:v>§ 12 Ortoptista</c:v>
                </c:pt>
                <c:pt idx="33">
                  <c:v>§ 41 Autoptický laborant</c:v>
                </c:pt>
                <c:pt idx="34">
                  <c:v>§ 21 Radiologický technik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2428</c:v>
                </c:pt>
                <c:pt idx="1">
                  <c:v>992</c:v>
                </c:pt>
                <c:pt idx="2">
                  <c:v>822</c:v>
                </c:pt>
                <c:pt idx="3">
                  <c:v>691</c:v>
                </c:pt>
                <c:pt idx="4">
                  <c:v>685</c:v>
                </c:pt>
                <c:pt idx="5">
                  <c:v>562</c:v>
                </c:pt>
                <c:pt idx="6">
                  <c:v>388</c:v>
                </c:pt>
                <c:pt idx="7">
                  <c:v>370</c:v>
                </c:pt>
                <c:pt idx="8">
                  <c:v>318</c:v>
                </c:pt>
                <c:pt idx="9">
                  <c:v>281</c:v>
                </c:pt>
                <c:pt idx="10">
                  <c:v>251</c:v>
                </c:pt>
                <c:pt idx="11">
                  <c:v>232</c:v>
                </c:pt>
                <c:pt idx="12">
                  <c:v>189</c:v>
                </c:pt>
                <c:pt idx="13">
                  <c:v>136</c:v>
                </c:pt>
                <c:pt idx="14">
                  <c:v>117</c:v>
                </c:pt>
                <c:pt idx="15">
                  <c:v>117</c:v>
                </c:pt>
                <c:pt idx="16">
                  <c:v>89</c:v>
                </c:pt>
                <c:pt idx="17">
                  <c:v>87</c:v>
                </c:pt>
                <c:pt idx="18">
                  <c:v>86</c:v>
                </c:pt>
                <c:pt idx="19">
                  <c:v>75</c:v>
                </c:pt>
                <c:pt idx="20">
                  <c:v>69</c:v>
                </c:pt>
                <c:pt idx="21">
                  <c:v>57</c:v>
                </c:pt>
                <c:pt idx="22">
                  <c:v>36</c:v>
                </c:pt>
                <c:pt idx="23">
                  <c:v>24</c:v>
                </c:pt>
                <c:pt idx="24">
                  <c:v>21</c:v>
                </c:pt>
                <c:pt idx="25">
                  <c:v>18</c:v>
                </c:pt>
                <c:pt idx="26">
                  <c:v>13</c:v>
                </c:pt>
                <c:pt idx="27">
                  <c:v>13</c:v>
                </c:pt>
                <c:pt idx="28">
                  <c:v>9</c:v>
                </c:pt>
                <c:pt idx="29">
                  <c:v>9</c:v>
                </c:pt>
                <c:pt idx="30">
                  <c:v>7</c:v>
                </c:pt>
                <c:pt idx="31">
                  <c:v>5</c:v>
                </c:pt>
                <c:pt idx="32">
                  <c:v>4</c:v>
                </c:pt>
                <c:pt idx="33">
                  <c:v>2</c:v>
                </c:pt>
                <c:pt idx="3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1</c:f>
              <c:strCache>
                <c:ptCount val="30"/>
                <c:pt idx="0">
                  <c:v>§ 42 Sanitář</c:v>
                </c:pt>
                <c:pt idx="1">
                  <c:v>§ 24 Fyzioterapeut</c:v>
                </c:pt>
                <c:pt idx="2">
                  <c:v>§ 9 Zdravotní laborant</c:v>
                </c:pt>
                <c:pt idx="3">
                  <c:v>farmaceut</c:v>
                </c:pt>
                <c:pt idx="4">
                  <c:v>§ 36 Ošetřovatel</c:v>
                </c:pt>
                <c:pt idx="5">
                  <c:v>§ 19 Farmaceutický asistent</c:v>
                </c:pt>
                <c:pt idx="6">
                  <c:v>§ 39 Zubní instrumentářka</c:v>
                </c:pt>
                <c:pt idx="7">
                  <c:v>§ 16 Zubní technik</c:v>
                </c:pt>
                <c:pt idx="8">
                  <c:v>§ 8 Radiologický asistent</c:v>
                </c:pt>
                <c:pt idx="9">
                  <c:v>§ 18 Zdravotnický záchranář</c:v>
                </c:pt>
                <c:pt idx="10">
                  <c:v>§ 26 Odborný pracovník v laboratorních metodách a v přípravě léčivých přípravků</c:v>
                </c:pt>
                <c:pt idx="11">
                  <c:v>§ 17 Dentální hygienistka</c:v>
                </c:pt>
                <c:pt idx="12">
                  <c:v>§ 35 Řidič vozidla zdravotnické záchranné služby</c:v>
                </c:pt>
                <c:pt idx="13">
                  <c:v>§ 40 Řidič zdravotnické dopravní služby</c:v>
                </c:pt>
                <c:pt idx="14">
                  <c:v>§ 22 Psycholog ve zdravotnictví</c:v>
                </c:pt>
                <c:pt idx="15">
                  <c:v>§ 11 Optometrista</c:v>
                </c:pt>
                <c:pt idx="16">
                  <c:v>§ 10 Zdravotně-sociální pracovník</c:v>
                </c:pt>
                <c:pt idx="17">
                  <c:v>§ 23 Logoped ve zdravotnictví</c:v>
                </c:pt>
                <c:pt idx="18">
                  <c:v>§ 7 Ergoterapeut</c:v>
                </c:pt>
                <c:pt idx="19">
                  <c:v>§ 15 Nutriční terapeut</c:v>
                </c:pt>
                <c:pt idx="20">
                  <c:v>§ 30 Laboratorní asistent</c:v>
                </c:pt>
                <c:pt idx="21">
                  <c:v>§ 25 Radiologický fyzik</c:v>
                </c:pt>
                <c:pt idx="22">
                  <c:v>§ 28 Odborný pracovník v ochraně a podpoře veřejného zdraví</c:v>
                </c:pt>
                <c:pt idx="23">
                  <c:v>§ 33 Asistent zubního technika</c:v>
                </c:pt>
                <c:pt idx="24">
                  <c:v>§ 20 Biomedicínský technik</c:v>
                </c:pt>
                <c:pt idx="25">
                  <c:v>§ 37 Masér ve zdravotnictví, nevidomý a slabozraký masér ve zdravotnictví</c:v>
                </c:pt>
                <c:pt idx="26">
                  <c:v>§ 14 Ortotik-protetik</c:v>
                </c:pt>
                <c:pt idx="27">
                  <c:v>§ 21a Adiktolog</c:v>
                </c:pt>
                <c:pt idx="28">
                  <c:v>§ 27 Biomedicínský inženýr</c:v>
                </c:pt>
                <c:pt idx="29">
                  <c:v>§ 41 Autoptický laborant</c:v>
                </c:pt>
              </c:strCache>
            </c:strRef>
          </c:cat>
          <c:val>
            <c:numRef>
              <c:f>List1!$B$2:$B$31</c:f>
              <c:numCache>
                <c:formatCode>General</c:formatCode>
                <c:ptCount val="30"/>
                <c:pt idx="0">
                  <c:v>121</c:v>
                </c:pt>
                <c:pt idx="1">
                  <c:v>86</c:v>
                </c:pt>
                <c:pt idx="2">
                  <c:v>70</c:v>
                </c:pt>
                <c:pt idx="3">
                  <c:v>60</c:v>
                </c:pt>
                <c:pt idx="4">
                  <c:v>38</c:v>
                </c:pt>
                <c:pt idx="5">
                  <c:v>36</c:v>
                </c:pt>
                <c:pt idx="6">
                  <c:v>28</c:v>
                </c:pt>
                <c:pt idx="7">
                  <c:v>26</c:v>
                </c:pt>
                <c:pt idx="8">
                  <c:v>25</c:v>
                </c:pt>
                <c:pt idx="9">
                  <c:v>25</c:v>
                </c:pt>
                <c:pt idx="10">
                  <c:v>25</c:v>
                </c:pt>
                <c:pt idx="11">
                  <c:v>15</c:v>
                </c:pt>
                <c:pt idx="12">
                  <c:v>14</c:v>
                </c:pt>
                <c:pt idx="13">
                  <c:v>12</c:v>
                </c:pt>
                <c:pt idx="14">
                  <c:v>11</c:v>
                </c:pt>
                <c:pt idx="15">
                  <c:v>8</c:v>
                </c:pt>
                <c:pt idx="16">
                  <c:v>7</c:v>
                </c:pt>
                <c:pt idx="17">
                  <c:v>6</c:v>
                </c:pt>
                <c:pt idx="18">
                  <c:v>5</c:v>
                </c:pt>
                <c:pt idx="19">
                  <c:v>5</c:v>
                </c:pt>
                <c:pt idx="20">
                  <c:v>4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2</c:v>
                </c:pt>
                <c:pt idx="25">
                  <c:v>2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46373336375452E-2"/>
          <c:y val="2.9235580326475268E-2"/>
          <c:w val="0.7481746992431868"/>
          <c:h val="0.8425285145779423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racovníci v zařízeních sociálních služeb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0"/>
                  <c:y val="-1.663132121161326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206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78D-4A9E-835E-C0CA09B7B5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206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A$2:$A$184</c:f>
              <c:numCache>
                <c:formatCode>dd/mm/yy;@</c:formatCode>
                <c:ptCount val="183"/>
                <c:pt idx="0">
                  <c:v>44315</c:v>
                </c:pt>
                <c:pt idx="1">
                  <c:v>44316</c:v>
                </c:pt>
                <c:pt idx="2">
                  <c:v>44317</c:v>
                </c:pt>
                <c:pt idx="3">
                  <c:v>44318</c:v>
                </c:pt>
                <c:pt idx="4">
                  <c:v>44319</c:v>
                </c:pt>
                <c:pt idx="5">
                  <c:v>44320</c:v>
                </c:pt>
                <c:pt idx="6">
                  <c:v>44321</c:v>
                </c:pt>
                <c:pt idx="7">
                  <c:v>44322</c:v>
                </c:pt>
                <c:pt idx="8">
                  <c:v>44323</c:v>
                </c:pt>
                <c:pt idx="9">
                  <c:v>44324</c:v>
                </c:pt>
                <c:pt idx="10">
                  <c:v>44325</c:v>
                </c:pt>
                <c:pt idx="11">
                  <c:v>44326</c:v>
                </c:pt>
                <c:pt idx="12">
                  <c:v>44327</c:v>
                </c:pt>
                <c:pt idx="13">
                  <c:v>44328</c:v>
                </c:pt>
                <c:pt idx="14">
                  <c:v>44329</c:v>
                </c:pt>
                <c:pt idx="15">
                  <c:v>44330</c:v>
                </c:pt>
                <c:pt idx="16">
                  <c:v>44331</c:v>
                </c:pt>
                <c:pt idx="17">
                  <c:v>44332</c:v>
                </c:pt>
                <c:pt idx="18">
                  <c:v>44333</c:v>
                </c:pt>
                <c:pt idx="19">
                  <c:v>44334</c:v>
                </c:pt>
                <c:pt idx="20">
                  <c:v>44335</c:v>
                </c:pt>
                <c:pt idx="21">
                  <c:v>44336</c:v>
                </c:pt>
                <c:pt idx="22">
                  <c:v>44337</c:v>
                </c:pt>
                <c:pt idx="23">
                  <c:v>44338</c:v>
                </c:pt>
                <c:pt idx="24">
                  <c:v>44339</c:v>
                </c:pt>
                <c:pt idx="25">
                  <c:v>44340</c:v>
                </c:pt>
                <c:pt idx="26">
                  <c:v>44341</c:v>
                </c:pt>
                <c:pt idx="27">
                  <c:v>44342</c:v>
                </c:pt>
                <c:pt idx="28">
                  <c:v>44343</c:v>
                </c:pt>
                <c:pt idx="29">
                  <c:v>44344</c:v>
                </c:pt>
                <c:pt idx="30">
                  <c:v>44345</c:v>
                </c:pt>
                <c:pt idx="31">
                  <c:v>44346</c:v>
                </c:pt>
                <c:pt idx="32">
                  <c:v>44347</c:v>
                </c:pt>
                <c:pt idx="33">
                  <c:v>44348</c:v>
                </c:pt>
                <c:pt idx="34">
                  <c:v>44349</c:v>
                </c:pt>
                <c:pt idx="35">
                  <c:v>44350</c:v>
                </c:pt>
                <c:pt idx="36">
                  <c:v>44351</c:v>
                </c:pt>
                <c:pt idx="37">
                  <c:v>44352</c:v>
                </c:pt>
                <c:pt idx="38">
                  <c:v>44353</c:v>
                </c:pt>
                <c:pt idx="39">
                  <c:v>44354</c:v>
                </c:pt>
                <c:pt idx="40">
                  <c:v>44355</c:v>
                </c:pt>
                <c:pt idx="41">
                  <c:v>44356</c:v>
                </c:pt>
                <c:pt idx="42">
                  <c:v>44357</c:v>
                </c:pt>
                <c:pt idx="43">
                  <c:v>44358</c:v>
                </c:pt>
                <c:pt idx="44">
                  <c:v>44359</c:v>
                </c:pt>
                <c:pt idx="45">
                  <c:v>44360</c:v>
                </c:pt>
                <c:pt idx="46">
                  <c:v>44361</c:v>
                </c:pt>
                <c:pt idx="47">
                  <c:v>44362</c:v>
                </c:pt>
                <c:pt idx="48">
                  <c:v>44363</c:v>
                </c:pt>
                <c:pt idx="49">
                  <c:v>44364</c:v>
                </c:pt>
                <c:pt idx="50">
                  <c:v>44365</c:v>
                </c:pt>
                <c:pt idx="51">
                  <c:v>44366</c:v>
                </c:pt>
                <c:pt idx="52">
                  <c:v>44367</c:v>
                </c:pt>
                <c:pt idx="53">
                  <c:v>44368</c:v>
                </c:pt>
                <c:pt idx="54">
                  <c:v>44369</c:v>
                </c:pt>
                <c:pt idx="55">
                  <c:v>44370</c:v>
                </c:pt>
                <c:pt idx="56">
                  <c:v>44371</c:v>
                </c:pt>
                <c:pt idx="57">
                  <c:v>44372</c:v>
                </c:pt>
                <c:pt idx="58">
                  <c:v>44373</c:v>
                </c:pt>
                <c:pt idx="59">
                  <c:v>44374</c:v>
                </c:pt>
                <c:pt idx="60">
                  <c:v>44375</c:v>
                </c:pt>
                <c:pt idx="61">
                  <c:v>44376</c:v>
                </c:pt>
                <c:pt idx="62">
                  <c:v>44377</c:v>
                </c:pt>
                <c:pt idx="63">
                  <c:v>44378</c:v>
                </c:pt>
                <c:pt idx="64">
                  <c:v>44379</c:v>
                </c:pt>
                <c:pt idx="65">
                  <c:v>44380</c:v>
                </c:pt>
                <c:pt idx="66">
                  <c:v>44381</c:v>
                </c:pt>
                <c:pt idx="67">
                  <c:v>44382</c:v>
                </c:pt>
                <c:pt idx="68">
                  <c:v>44383</c:v>
                </c:pt>
                <c:pt idx="69">
                  <c:v>44384</c:v>
                </c:pt>
                <c:pt idx="70">
                  <c:v>44385</c:v>
                </c:pt>
                <c:pt idx="71">
                  <c:v>44386</c:v>
                </c:pt>
                <c:pt idx="72">
                  <c:v>44387</c:v>
                </c:pt>
                <c:pt idx="73">
                  <c:v>44388</c:v>
                </c:pt>
                <c:pt idx="74">
                  <c:v>44389</c:v>
                </c:pt>
                <c:pt idx="75">
                  <c:v>44390</c:v>
                </c:pt>
                <c:pt idx="76">
                  <c:v>44391</c:v>
                </c:pt>
                <c:pt idx="77">
                  <c:v>44392</c:v>
                </c:pt>
                <c:pt idx="78">
                  <c:v>44393</c:v>
                </c:pt>
                <c:pt idx="79">
                  <c:v>44394</c:v>
                </c:pt>
                <c:pt idx="80">
                  <c:v>44395</c:v>
                </c:pt>
                <c:pt idx="81">
                  <c:v>44396</c:v>
                </c:pt>
                <c:pt idx="82">
                  <c:v>44397</c:v>
                </c:pt>
                <c:pt idx="83">
                  <c:v>44398</c:v>
                </c:pt>
                <c:pt idx="84">
                  <c:v>44399</c:v>
                </c:pt>
                <c:pt idx="85">
                  <c:v>44400</c:v>
                </c:pt>
                <c:pt idx="86">
                  <c:v>44401</c:v>
                </c:pt>
                <c:pt idx="87">
                  <c:v>44402</c:v>
                </c:pt>
                <c:pt idx="88">
                  <c:v>44403</c:v>
                </c:pt>
                <c:pt idx="89">
                  <c:v>44404</c:v>
                </c:pt>
                <c:pt idx="90">
                  <c:v>44405</c:v>
                </c:pt>
                <c:pt idx="91">
                  <c:v>44406</c:v>
                </c:pt>
                <c:pt idx="92">
                  <c:v>44407</c:v>
                </c:pt>
                <c:pt idx="93">
                  <c:v>44408</c:v>
                </c:pt>
                <c:pt idx="94">
                  <c:v>44409</c:v>
                </c:pt>
                <c:pt idx="95">
                  <c:v>44410</c:v>
                </c:pt>
                <c:pt idx="96">
                  <c:v>44411</c:v>
                </c:pt>
                <c:pt idx="97">
                  <c:v>44412</c:v>
                </c:pt>
                <c:pt idx="98">
                  <c:v>44413</c:v>
                </c:pt>
                <c:pt idx="99">
                  <c:v>44414</c:v>
                </c:pt>
                <c:pt idx="100">
                  <c:v>44415</c:v>
                </c:pt>
                <c:pt idx="101">
                  <c:v>44416</c:v>
                </c:pt>
                <c:pt idx="102">
                  <c:v>44417</c:v>
                </c:pt>
                <c:pt idx="103">
                  <c:v>44418</c:v>
                </c:pt>
                <c:pt idx="104">
                  <c:v>44419</c:v>
                </c:pt>
                <c:pt idx="105">
                  <c:v>44420</c:v>
                </c:pt>
                <c:pt idx="106">
                  <c:v>44421</c:v>
                </c:pt>
                <c:pt idx="107">
                  <c:v>44422</c:v>
                </c:pt>
                <c:pt idx="108">
                  <c:v>44423</c:v>
                </c:pt>
                <c:pt idx="109">
                  <c:v>44424</c:v>
                </c:pt>
                <c:pt idx="110">
                  <c:v>44425</c:v>
                </c:pt>
                <c:pt idx="111">
                  <c:v>44426</c:v>
                </c:pt>
                <c:pt idx="112">
                  <c:v>44427</c:v>
                </c:pt>
                <c:pt idx="113">
                  <c:v>44428</c:v>
                </c:pt>
                <c:pt idx="114">
                  <c:v>44429</c:v>
                </c:pt>
                <c:pt idx="115">
                  <c:v>44430</c:v>
                </c:pt>
                <c:pt idx="116">
                  <c:v>44431</c:v>
                </c:pt>
                <c:pt idx="117">
                  <c:v>44432</c:v>
                </c:pt>
                <c:pt idx="118">
                  <c:v>44433</c:v>
                </c:pt>
                <c:pt idx="119">
                  <c:v>44434</c:v>
                </c:pt>
                <c:pt idx="120">
                  <c:v>44435</c:v>
                </c:pt>
                <c:pt idx="121">
                  <c:v>44436</c:v>
                </c:pt>
                <c:pt idx="122">
                  <c:v>44437</c:v>
                </c:pt>
                <c:pt idx="123">
                  <c:v>44438</c:v>
                </c:pt>
                <c:pt idx="124">
                  <c:v>44439</c:v>
                </c:pt>
                <c:pt idx="125">
                  <c:v>44440</c:v>
                </c:pt>
                <c:pt idx="126">
                  <c:v>44441</c:v>
                </c:pt>
                <c:pt idx="127">
                  <c:v>44442</c:v>
                </c:pt>
                <c:pt idx="128">
                  <c:v>44443</c:v>
                </c:pt>
                <c:pt idx="129">
                  <c:v>44444</c:v>
                </c:pt>
                <c:pt idx="130">
                  <c:v>44445</c:v>
                </c:pt>
                <c:pt idx="131">
                  <c:v>44446</c:v>
                </c:pt>
                <c:pt idx="132">
                  <c:v>44447</c:v>
                </c:pt>
                <c:pt idx="133">
                  <c:v>44448</c:v>
                </c:pt>
                <c:pt idx="134">
                  <c:v>44449</c:v>
                </c:pt>
                <c:pt idx="135">
                  <c:v>44450</c:v>
                </c:pt>
                <c:pt idx="136">
                  <c:v>44451</c:v>
                </c:pt>
                <c:pt idx="137">
                  <c:v>44452</c:v>
                </c:pt>
                <c:pt idx="138">
                  <c:v>44453</c:v>
                </c:pt>
                <c:pt idx="139">
                  <c:v>44454</c:v>
                </c:pt>
                <c:pt idx="140">
                  <c:v>44455</c:v>
                </c:pt>
                <c:pt idx="141">
                  <c:v>44456</c:v>
                </c:pt>
                <c:pt idx="142">
                  <c:v>44457</c:v>
                </c:pt>
                <c:pt idx="143">
                  <c:v>44458</c:v>
                </c:pt>
                <c:pt idx="144">
                  <c:v>44459</c:v>
                </c:pt>
                <c:pt idx="145">
                  <c:v>44460</c:v>
                </c:pt>
                <c:pt idx="146">
                  <c:v>44461</c:v>
                </c:pt>
                <c:pt idx="147">
                  <c:v>44462</c:v>
                </c:pt>
                <c:pt idx="148">
                  <c:v>44463</c:v>
                </c:pt>
                <c:pt idx="149">
                  <c:v>44464</c:v>
                </c:pt>
                <c:pt idx="150">
                  <c:v>44465</c:v>
                </c:pt>
                <c:pt idx="151">
                  <c:v>44466</c:v>
                </c:pt>
                <c:pt idx="152">
                  <c:v>44467</c:v>
                </c:pt>
                <c:pt idx="153">
                  <c:v>44468</c:v>
                </c:pt>
                <c:pt idx="154">
                  <c:v>44469</c:v>
                </c:pt>
                <c:pt idx="155">
                  <c:v>44470</c:v>
                </c:pt>
                <c:pt idx="156">
                  <c:v>44471</c:v>
                </c:pt>
                <c:pt idx="157">
                  <c:v>44472</c:v>
                </c:pt>
                <c:pt idx="158">
                  <c:v>44473</c:v>
                </c:pt>
                <c:pt idx="159">
                  <c:v>44474</c:v>
                </c:pt>
                <c:pt idx="160">
                  <c:v>44475</c:v>
                </c:pt>
                <c:pt idx="161">
                  <c:v>44476</c:v>
                </c:pt>
                <c:pt idx="162">
                  <c:v>44477</c:v>
                </c:pt>
                <c:pt idx="163">
                  <c:v>44478</c:v>
                </c:pt>
                <c:pt idx="164">
                  <c:v>44479</c:v>
                </c:pt>
                <c:pt idx="165">
                  <c:v>44480</c:v>
                </c:pt>
                <c:pt idx="166">
                  <c:v>44481</c:v>
                </c:pt>
                <c:pt idx="167">
                  <c:v>44482</c:v>
                </c:pt>
                <c:pt idx="168">
                  <c:v>44483</c:v>
                </c:pt>
                <c:pt idx="169">
                  <c:v>44484</c:v>
                </c:pt>
                <c:pt idx="170">
                  <c:v>44485</c:v>
                </c:pt>
                <c:pt idx="171">
                  <c:v>44486</c:v>
                </c:pt>
                <c:pt idx="172">
                  <c:v>44487</c:v>
                </c:pt>
                <c:pt idx="173">
                  <c:v>44488</c:v>
                </c:pt>
                <c:pt idx="174">
                  <c:v>44489</c:v>
                </c:pt>
                <c:pt idx="175">
                  <c:v>44490</c:v>
                </c:pt>
                <c:pt idx="176">
                  <c:v>44491</c:v>
                </c:pt>
                <c:pt idx="177">
                  <c:v>44492</c:v>
                </c:pt>
                <c:pt idx="178">
                  <c:v>44493</c:v>
                </c:pt>
                <c:pt idx="179">
                  <c:v>44494</c:v>
                </c:pt>
                <c:pt idx="180">
                  <c:v>44495</c:v>
                </c:pt>
                <c:pt idx="181">
                  <c:v>44496</c:v>
                </c:pt>
                <c:pt idx="182">
                  <c:v>44497</c:v>
                </c:pt>
              </c:numCache>
            </c:numRef>
          </c:cat>
          <c:val>
            <c:numRef>
              <c:f>List1!$B$2:$B$184</c:f>
              <c:numCache>
                <c:formatCode>General</c:formatCode>
                <c:ptCount val="183"/>
                <c:pt idx="0">
                  <c:v>80</c:v>
                </c:pt>
                <c:pt idx="1">
                  <c:v>76</c:v>
                </c:pt>
                <c:pt idx="2">
                  <c:v>73</c:v>
                </c:pt>
                <c:pt idx="3">
                  <c:v>72</c:v>
                </c:pt>
                <c:pt idx="4">
                  <c:v>74</c:v>
                </c:pt>
                <c:pt idx="5">
                  <c:v>63</c:v>
                </c:pt>
                <c:pt idx="6">
                  <c:v>59</c:v>
                </c:pt>
                <c:pt idx="7">
                  <c:v>59</c:v>
                </c:pt>
                <c:pt idx="8">
                  <c:v>57</c:v>
                </c:pt>
                <c:pt idx="9">
                  <c:v>52</c:v>
                </c:pt>
                <c:pt idx="10">
                  <c:v>50</c:v>
                </c:pt>
                <c:pt idx="11">
                  <c:v>51</c:v>
                </c:pt>
                <c:pt idx="12">
                  <c:v>47</c:v>
                </c:pt>
                <c:pt idx="13">
                  <c:v>43</c:v>
                </c:pt>
                <c:pt idx="14">
                  <c:v>43</c:v>
                </c:pt>
                <c:pt idx="15">
                  <c:v>43</c:v>
                </c:pt>
                <c:pt idx="16">
                  <c:v>40</c:v>
                </c:pt>
                <c:pt idx="17">
                  <c:v>40</c:v>
                </c:pt>
                <c:pt idx="18">
                  <c:v>41</c:v>
                </c:pt>
                <c:pt idx="19">
                  <c:v>42</c:v>
                </c:pt>
                <c:pt idx="20">
                  <c:v>38</c:v>
                </c:pt>
                <c:pt idx="21">
                  <c:v>39</c:v>
                </c:pt>
                <c:pt idx="22">
                  <c:v>38</c:v>
                </c:pt>
                <c:pt idx="23">
                  <c:v>35</c:v>
                </c:pt>
                <c:pt idx="24">
                  <c:v>35</c:v>
                </c:pt>
                <c:pt idx="25">
                  <c:v>36</c:v>
                </c:pt>
                <c:pt idx="26">
                  <c:v>34</c:v>
                </c:pt>
                <c:pt idx="27">
                  <c:v>31</c:v>
                </c:pt>
                <c:pt idx="28">
                  <c:v>29</c:v>
                </c:pt>
                <c:pt idx="29">
                  <c:v>27</c:v>
                </c:pt>
                <c:pt idx="30">
                  <c:v>25</c:v>
                </c:pt>
                <c:pt idx="31">
                  <c:v>25</c:v>
                </c:pt>
                <c:pt idx="32">
                  <c:v>24</c:v>
                </c:pt>
                <c:pt idx="33">
                  <c:v>21</c:v>
                </c:pt>
                <c:pt idx="34">
                  <c:v>18</c:v>
                </c:pt>
                <c:pt idx="35">
                  <c:v>17</c:v>
                </c:pt>
                <c:pt idx="36">
                  <c:v>16</c:v>
                </c:pt>
                <c:pt idx="37">
                  <c:v>16</c:v>
                </c:pt>
                <c:pt idx="38">
                  <c:v>16</c:v>
                </c:pt>
                <c:pt idx="39">
                  <c:v>15</c:v>
                </c:pt>
                <c:pt idx="40">
                  <c:v>13</c:v>
                </c:pt>
                <c:pt idx="41">
                  <c:v>11</c:v>
                </c:pt>
                <c:pt idx="42">
                  <c:v>11</c:v>
                </c:pt>
                <c:pt idx="43">
                  <c:v>11</c:v>
                </c:pt>
                <c:pt idx="44">
                  <c:v>11</c:v>
                </c:pt>
                <c:pt idx="45">
                  <c:v>11</c:v>
                </c:pt>
                <c:pt idx="46">
                  <c:v>11</c:v>
                </c:pt>
                <c:pt idx="47">
                  <c:v>11</c:v>
                </c:pt>
                <c:pt idx="48">
                  <c:v>11</c:v>
                </c:pt>
                <c:pt idx="49">
                  <c:v>10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0</c:v>
                </c:pt>
                <c:pt idx="54">
                  <c:v>10</c:v>
                </c:pt>
                <c:pt idx="55">
                  <c:v>10</c:v>
                </c:pt>
                <c:pt idx="56">
                  <c:v>10</c:v>
                </c:pt>
                <c:pt idx="57">
                  <c:v>9</c:v>
                </c:pt>
                <c:pt idx="58">
                  <c:v>9</c:v>
                </c:pt>
                <c:pt idx="59">
                  <c:v>9</c:v>
                </c:pt>
                <c:pt idx="60">
                  <c:v>9</c:v>
                </c:pt>
                <c:pt idx="61">
                  <c:v>9</c:v>
                </c:pt>
                <c:pt idx="62">
                  <c:v>10</c:v>
                </c:pt>
                <c:pt idx="63">
                  <c:v>10</c:v>
                </c:pt>
                <c:pt idx="64">
                  <c:v>10</c:v>
                </c:pt>
                <c:pt idx="65">
                  <c:v>10</c:v>
                </c:pt>
                <c:pt idx="66">
                  <c:v>10</c:v>
                </c:pt>
                <c:pt idx="67">
                  <c:v>10</c:v>
                </c:pt>
                <c:pt idx="68">
                  <c:v>10</c:v>
                </c:pt>
                <c:pt idx="69">
                  <c:v>10</c:v>
                </c:pt>
                <c:pt idx="70">
                  <c:v>10</c:v>
                </c:pt>
                <c:pt idx="71">
                  <c:v>10</c:v>
                </c:pt>
                <c:pt idx="72">
                  <c:v>10</c:v>
                </c:pt>
                <c:pt idx="73">
                  <c:v>11</c:v>
                </c:pt>
                <c:pt idx="74">
                  <c:v>11</c:v>
                </c:pt>
                <c:pt idx="75">
                  <c:v>11</c:v>
                </c:pt>
                <c:pt idx="76">
                  <c:v>11</c:v>
                </c:pt>
                <c:pt idx="77">
                  <c:v>11</c:v>
                </c:pt>
                <c:pt idx="78">
                  <c:v>10</c:v>
                </c:pt>
                <c:pt idx="79">
                  <c:v>10</c:v>
                </c:pt>
                <c:pt idx="80">
                  <c:v>10</c:v>
                </c:pt>
                <c:pt idx="81">
                  <c:v>10</c:v>
                </c:pt>
                <c:pt idx="82">
                  <c:v>10</c:v>
                </c:pt>
                <c:pt idx="83">
                  <c:v>11</c:v>
                </c:pt>
                <c:pt idx="84">
                  <c:v>10</c:v>
                </c:pt>
                <c:pt idx="85">
                  <c:v>10</c:v>
                </c:pt>
                <c:pt idx="86">
                  <c:v>9</c:v>
                </c:pt>
                <c:pt idx="87">
                  <c:v>9</c:v>
                </c:pt>
                <c:pt idx="88">
                  <c:v>8</c:v>
                </c:pt>
                <c:pt idx="89">
                  <c:v>8</c:v>
                </c:pt>
                <c:pt idx="90">
                  <c:v>10</c:v>
                </c:pt>
                <c:pt idx="91">
                  <c:v>10</c:v>
                </c:pt>
                <c:pt idx="92">
                  <c:v>10</c:v>
                </c:pt>
                <c:pt idx="93">
                  <c:v>10</c:v>
                </c:pt>
                <c:pt idx="94">
                  <c:v>10</c:v>
                </c:pt>
                <c:pt idx="95">
                  <c:v>10</c:v>
                </c:pt>
                <c:pt idx="96">
                  <c:v>10</c:v>
                </c:pt>
                <c:pt idx="97">
                  <c:v>10</c:v>
                </c:pt>
                <c:pt idx="98">
                  <c:v>9</c:v>
                </c:pt>
                <c:pt idx="99">
                  <c:v>9</c:v>
                </c:pt>
                <c:pt idx="100">
                  <c:v>9</c:v>
                </c:pt>
                <c:pt idx="101">
                  <c:v>10</c:v>
                </c:pt>
                <c:pt idx="102">
                  <c:v>10</c:v>
                </c:pt>
                <c:pt idx="103">
                  <c:v>9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9</c:v>
                </c:pt>
                <c:pt idx="109">
                  <c:v>9</c:v>
                </c:pt>
                <c:pt idx="110">
                  <c:v>8</c:v>
                </c:pt>
                <c:pt idx="111">
                  <c:v>8</c:v>
                </c:pt>
                <c:pt idx="112">
                  <c:v>8</c:v>
                </c:pt>
                <c:pt idx="113">
                  <c:v>8</c:v>
                </c:pt>
                <c:pt idx="114">
                  <c:v>8</c:v>
                </c:pt>
                <c:pt idx="115">
                  <c:v>8</c:v>
                </c:pt>
                <c:pt idx="116">
                  <c:v>9</c:v>
                </c:pt>
                <c:pt idx="117">
                  <c:v>9</c:v>
                </c:pt>
                <c:pt idx="118">
                  <c:v>9</c:v>
                </c:pt>
                <c:pt idx="119">
                  <c:v>9</c:v>
                </c:pt>
                <c:pt idx="120">
                  <c:v>10</c:v>
                </c:pt>
                <c:pt idx="121">
                  <c:v>10</c:v>
                </c:pt>
                <c:pt idx="122">
                  <c:v>10</c:v>
                </c:pt>
                <c:pt idx="123">
                  <c:v>10</c:v>
                </c:pt>
                <c:pt idx="124">
                  <c:v>10</c:v>
                </c:pt>
                <c:pt idx="125">
                  <c:v>12</c:v>
                </c:pt>
                <c:pt idx="126">
                  <c:v>13</c:v>
                </c:pt>
                <c:pt idx="127">
                  <c:v>14</c:v>
                </c:pt>
                <c:pt idx="128">
                  <c:v>14</c:v>
                </c:pt>
                <c:pt idx="129">
                  <c:v>14</c:v>
                </c:pt>
                <c:pt idx="130">
                  <c:v>15</c:v>
                </c:pt>
                <c:pt idx="131">
                  <c:v>16</c:v>
                </c:pt>
                <c:pt idx="132">
                  <c:v>17</c:v>
                </c:pt>
                <c:pt idx="133">
                  <c:v>18</c:v>
                </c:pt>
                <c:pt idx="134">
                  <c:v>18</c:v>
                </c:pt>
                <c:pt idx="135">
                  <c:v>17</c:v>
                </c:pt>
                <c:pt idx="136">
                  <c:v>15</c:v>
                </c:pt>
                <c:pt idx="137">
                  <c:v>15</c:v>
                </c:pt>
                <c:pt idx="138">
                  <c:v>16</c:v>
                </c:pt>
                <c:pt idx="139">
                  <c:v>15</c:v>
                </c:pt>
                <c:pt idx="140">
                  <c:v>15</c:v>
                </c:pt>
                <c:pt idx="141">
                  <c:v>14</c:v>
                </c:pt>
                <c:pt idx="142">
                  <c:v>12</c:v>
                </c:pt>
                <c:pt idx="143">
                  <c:v>12</c:v>
                </c:pt>
                <c:pt idx="144">
                  <c:v>16</c:v>
                </c:pt>
                <c:pt idx="145">
                  <c:v>18</c:v>
                </c:pt>
                <c:pt idx="146">
                  <c:v>18</c:v>
                </c:pt>
                <c:pt idx="147">
                  <c:v>18</c:v>
                </c:pt>
                <c:pt idx="148">
                  <c:v>18</c:v>
                </c:pt>
                <c:pt idx="149">
                  <c:v>19</c:v>
                </c:pt>
                <c:pt idx="150">
                  <c:v>19</c:v>
                </c:pt>
                <c:pt idx="151">
                  <c:v>24</c:v>
                </c:pt>
                <c:pt idx="152">
                  <c:v>26</c:v>
                </c:pt>
                <c:pt idx="153">
                  <c:v>30</c:v>
                </c:pt>
                <c:pt idx="154">
                  <c:v>30</c:v>
                </c:pt>
                <c:pt idx="155">
                  <c:v>31</c:v>
                </c:pt>
                <c:pt idx="156">
                  <c:v>30</c:v>
                </c:pt>
                <c:pt idx="157">
                  <c:v>29</c:v>
                </c:pt>
                <c:pt idx="158">
                  <c:v>31</c:v>
                </c:pt>
                <c:pt idx="159">
                  <c:v>32</c:v>
                </c:pt>
                <c:pt idx="160">
                  <c:v>32</c:v>
                </c:pt>
                <c:pt idx="161">
                  <c:v>33</c:v>
                </c:pt>
                <c:pt idx="162">
                  <c:v>33</c:v>
                </c:pt>
                <c:pt idx="163">
                  <c:v>34</c:v>
                </c:pt>
                <c:pt idx="164">
                  <c:v>32</c:v>
                </c:pt>
                <c:pt idx="165">
                  <c:v>34</c:v>
                </c:pt>
                <c:pt idx="166">
                  <c:v>30</c:v>
                </c:pt>
                <c:pt idx="167">
                  <c:v>30</c:v>
                </c:pt>
                <c:pt idx="168">
                  <c:v>26</c:v>
                </c:pt>
                <c:pt idx="169">
                  <c:v>28</c:v>
                </c:pt>
                <c:pt idx="170">
                  <c:v>29</c:v>
                </c:pt>
                <c:pt idx="171">
                  <c:v>29</c:v>
                </c:pt>
                <c:pt idx="172">
                  <c:v>37</c:v>
                </c:pt>
                <c:pt idx="173">
                  <c:v>41</c:v>
                </c:pt>
                <c:pt idx="174">
                  <c:v>53</c:v>
                </c:pt>
                <c:pt idx="175">
                  <c:v>55</c:v>
                </c:pt>
                <c:pt idx="176">
                  <c:v>60</c:v>
                </c:pt>
                <c:pt idx="177">
                  <c:v>58</c:v>
                </c:pt>
                <c:pt idx="178">
                  <c:v>60</c:v>
                </c:pt>
                <c:pt idx="179">
                  <c:v>66</c:v>
                </c:pt>
                <c:pt idx="180">
                  <c:v>77</c:v>
                </c:pt>
                <c:pt idx="181">
                  <c:v>83</c:v>
                </c:pt>
                <c:pt idx="182">
                  <c:v>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dateAx>
        <c:axId val="604314152"/>
        <c:scaling>
          <c:orientation val="minMax"/>
        </c:scaling>
        <c:delete val="0"/>
        <c:axPos val="b"/>
        <c:numFmt formatCode="dd/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Offset val="100"/>
        <c:baseTimeUnit val="days"/>
        <c:majorUnit val="7"/>
      </c:dateAx>
      <c:valAx>
        <c:axId val="604312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315</c:v>
                </c:pt>
                <c:pt idx="1">
                  <c:v>44316</c:v>
                </c:pt>
                <c:pt idx="2">
                  <c:v>44317</c:v>
                </c:pt>
                <c:pt idx="3">
                  <c:v>44318</c:v>
                </c:pt>
                <c:pt idx="4">
                  <c:v>44319</c:v>
                </c:pt>
                <c:pt idx="5">
                  <c:v>44320</c:v>
                </c:pt>
                <c:pt idx="6">
                  <c:v>44321</c:v>
                </c:pt>
                <c:pt idx="7">
                  <c:v>44322</c:v>
                </c:pt>
                <c:pt idx="8">
                  <c:v>44323</c:v>
                </c:pt>
                <c:pt idx="9">
                  <c:v>44324</c:v>
                </c:pt>
                <c:pt idx="10">
                  <c:v>44325</c:v>
                </c:pt>
                <c:pt idx="11">
                  <c:v>44326</c:v>
                </c:pt>
                <c:pt idx="12">
                  <c:v>44327</c:v>
                </c:pt>
                <c:pt idx="13">
                  <c:v>44328</c:v>
                </c:pt>
                <c:pt idx="14">
                  <c:v>44329</c:v>
                </c:pt>
                <c:pt idx="15">
                  <c:v>44330</c:v>
                </c:pt>
                <c:pt idx="16">
                  <c:v>44331</c:v>
                </c:pt>
                <c:pt idx="17">
                  <c:v>44332</c:v>
                </c:pt>
                <c:pt idx="18">
                  <c:v>44333</c:v>
                </c:pt>
                <c:pt idx="19">
                  <c:v>44334</c:v>
                </c:pt>
                <c:pt idx="20">
                  <c:v>44335</c:v>
                </c:pt>
                <c:pt idx="21">
                  <c:v>44336</c:v>
                </c:pt>
                <c:pt idx="22">
                  <c:v>44337</c:v>
                </c:pt>
                <c:pt idx="23">
                  <c:v>44338</c:v>
                </c:pt>
                <c:pt idx="24">
                  <c:v>44339</c:v>
                </c:pt>
                <c:pt idx="25">
                  <c:v>44340</c:v>
                </c:pt>
                <c:pt idx="26">
                  <c:v>44341</c:v>
                </c:pt>
                <c:pt idx="27">
                  <c:v>44342</c:v>
                </c:pt>
                <c:pt idx="28">
                  <c:v>44343</c:v>
                </c:pt>
                <c:pt idx="29">
                  <c:v>44344</c:v>
                </c:pt>
                <c:pt idx="30">
                  <c:v>44345</c:v>
                </c:pt>
                <c:pt idx="31">
                  <c:v>44346</c:v>
                </c:pt>
                <c:pt idx="32">
                  <c:v>44347</c:v>
                </c:pt>
                <c:pt idx="33">
                  <c:v>44348</c:v>
                </c:pt>
                <c:pt idx="34">
                  <c:v>44349</c:v>
                </c:pt>
                <c:pt idx="35">
                  <c:v>44350</c:v>
                </c:pt>
                <c:pt idx="36">
                  <c:v>44351</c:v>
                </c:pt>
                <c:pt idx="37">
                  <c:v>44352</c:v>
                </c:pt>
                <c:pt idx="38">
                  <c:v>44353</c:v>
                </c:pt>
                <c:pt idx="39">
                  <c:v>44354</c:v>
                </c:pt>
                <c:pt idx="40">
                  <c:v>44355</c:v>
                </c:pt>
                <c:pt idx="41">
                  <c:v>44356</c:v>
                </c:pt>
                <c:pt idx="42">
                  <c:v>44357</c:v>
                </c:pt>
                <c:pt idx="43">
                  <c:v>44358</c:v>
                </c:pt>
                <c:pt idx="44">
                  <c:v>44359</c:v>
                </c:pt>
                <c:pt idx="45">
                  <c:v>44360</c:v>
                </c:pt>
                <c:pt idx="46">
                  <c:v>44361</c:v>
                </c:pt>
                <c:pt idx="47">
                  <c:v>44362</c:v>
                </c:pt>
                <c:pt idx="48">
                  <c:v>44363</c:v>
                </c:pt>
                <c:pt idx="49">
                  <c:v>44364</c:v>
                </c:pt>
                <c:pt idx="50">
                  <c:v>44365</c:v>
                </c:pt>
                <c:pt idx="51">
                  <c:v>44366</c:v>
                </c:pt>
                <c:pt idx="52">
                  <c:v>44367</c:v>
                </c:pt>
                <c:pt idx="53">
                  <c:v>44368</c:v>
                </c:pt>
                <c:pt idx="54">
                  <c:v>44369</c:v>
                </c:pt>
                <c:pt idx="55">
                  <c:v>44370</c:v>
                </c:pt>
                <c:pt idx="56">
                  <c:v>44371</c:v>
                </c:pt>
                <c:pt idx="57">
                  <c:v>44372</c:v>
                </c:pt>
                <c:pt idx="58">
                  <c:v>44373</c:v>
                </c:pt>
                <c:pt idx="59">
                  <c:v>44374</c:v>
                </c:pt>
                <c:pt idx="60">
                  <c:v>44375</c:v>
                </c:pt>
                <c:pt idx="61">
                  <c:v>44376</c:v>
                </c:pt>
                <c:pt idx="62">
                  <c:v>44377</c:v>
                </c:pt>
                <c:pt idx="63">
                  <c:v>44378</c:v>
                </c:pt>
                <c:pt idx="64">
                  <c:v>44379</c:v>
                </c:pt>
                <c:pt idx="65">
                  <c:v>44380</c:v>
                </c:pt>
                <c:pt idx="66">
                  <c:v>44381</c:v>
                </c:pt>
                <c:pt idx="67">
                  <c:v>44382</c:v>
                </c:pt>
                <c:pt idx="68">
                  <c:v>44383</c:v>
                </c:pt>
                <c:pt idx="69">
                  <c:v>44384</c:v>
                </c:pt>
                <c:pt idx="70">
                  <c:v>44385</c:v>
                </c:pt>
                <c:pt idx="71">
                  <c:v>44386</c:v>
                </c:pt>
                <c:pt idx="72">
                  <c:v>44387</c:v>
                </c:pt>
                <c:pt idx="73">
                  <c:v>44388</c:v>
                </c:pt>
                <c:pt idx="74">
                  <c:v>44389</c:v>
                </c:pt>
                <c:pt idx="75">
                  <c:v>44390</c:v>
                </c:pt>
                <c:pt idx="76">
                  <c:v>44391</c:v>
                </c:pt>
                <c:pt idx="77">
                  <c:v>44392</c:v>
                </c:pt>
                <c:pt idx="78">
                  <c:v>44393</c:v>
                </c:pt>
                <c:pt idx="79">
                  <c:v>44394</c:v>
                </c:pt>
                <c:pt idx="80">
                  <c:v>44395</c:v>
                </c:pt>
                <c:pt idx="81">
                  <c:v>44396</c:v>
                </c:pt>
                <c:pt idx="82">
                  <c:v>44397</c:v>
                </c:pt>
                <c:pt idx="83">
                  <c:v>44398</c:v>
                </c:pt>
                <c:pt idx="84">
                  <c:v>44399</c:v>
                </c:pt>
                <c:pt idx="85">
                  <c:v>44400</c:v>
                </c:pt>
                <c:pt idx="86">
                  <c:v>44401</c:v>
                </c:pt>
                <c:pt idx="87">
                  <c:v>44402</c:v>
                </c:pt>
                <c:pt idx="88">
                  <c:v>44403</c:v>
                </c:pt>
                <c:pt idx="89">
                  <c:v>44404</c:v>
                </c:pt>
                <c:pt idx="90">
                  <c:v>44405</c:v>
                </c:pt>
                <c:pt idx="91">
                  <c:v>44406</c:v>
                </c:pt>
                <c:pt idx="92">
                  <c:v>44407</c:v>
                </c:pt>
                <c:pt idx="93">
                  <c:v>44408</c:v>
                </c:pt>
                <c:pt idx="94">
                  <c:v>44409</c:v>
                </c:pt>
                <c:pt idx="95">
                  <c:v>44410</c:v>
                </c:pt>
                <c:pt idx="96">
                  <c:v>44411</c:v>
                </c:pt>
                <c:pt idx="97">
                  <c:v>44412</c:v>
                </c:pt>
                <c:pt idx="98">
                  <c:v>44413</c:v>
                </c:pt>
                <c:pt idx="99">
                  <c:v>44414</c:v>
                </c:pt>
                <c:pt idx="100">
                  <c:v>44415</c:v>
                </c:pt>
                <c:pt idx="101">
                  <c:v>44416</c:v>
                </c:pt>
                <c:pt idx="102">
                  <c:v>44417</c:v>
                </c:pt>
                <c:pt idx="103">
                  <c:v>44418</c:v>
                </c:pt>
                <c:pt idx="104">
                  <c:v>44419</c:v>
                </c:pt>
                <c:pt idx="105">
                  <c:v>44420</c:v>
                </c:pt>
                <c:pt idx="106">
                  <c:v>44421</c:v>
                </c:pt>
                <c:pt idx="107">
                  <c:v>44422</c:v>
                </c:pt>
                <c:pt idx="108">
                  <c:v>44423</c:v>
                </c:pt>
                <c:pt idx="109">
                  <c:v>44424</c:v>
                </c:pt>
                <c:pt idx="110">
                  <c:v>44425</c:v>
                </c:pt>
                <c:pt idx="111">
                  <c:v>44426</c:v>
                </c:pt>
                <c:pt idx="112">
                  <c:v>44427</c:v>
                </c:pt>
                <c:pt idx="113">
                  <c:v>44428</c:v>
                </c:pt>
                <c:pt idx="114">
                  <c:v>44429</c:v>
                </c:pt>
                <c:pt idx="115">
                  <c:v>44430</c:v>
                </c:pt>
                <c:pt idx="116">
                  <c:v>44431</c:v>
                </c:pt>
                <c:pt idx="117">
                  <c:v>44432</c:v>
                </c:pt>
                <c:pt idx="118">
                  <c:v>44433</c:v>
                </c:pt>
                <c:pt idx="119">
                  <c:v>44434</c:v>
                </c:pt>
                <c:pt idx="120">
                  <c:v>44435</c:v>
                </c:pt>
                <c:pt idx="121">
                  <c:v>44436</c:v>
                </c:pt>
                <c:pt idx="122">
                  <c:v>44437</c:v>
                </c:pt>
                <c:pt idx="123">
                  <c:v>44438</c:v>
                </c:pt>
                <c:pt idx="124">
                  <c:v>44439</c:v>
                </c:pt>
                <c:pt idx="125">
                  <c:v>44440</c:v>
                </c:pt>
                <c:pt idx="126">
                  <c:v>44441</c:v>
                </c:pt>
                <c:pt idx="127">
                  <c:v>44442</c:v>
                </c:pt>
                <c:pt idx="128">
                  <c:v>44443</c:v>
                </c:pt>
                <c:pt idx="129">
                  <c:v>44444</c:v>
                </c:pt>
                <c:pt idx="130">
                  <c:v>44445</c:v>
                </c:pt>
                <c:pt idx="131">
                  <c:v>44446</c:v>
                </c:pt>
                <c:pt idx="132">
                  <c:v>44447</c:v>
                </c:pt>
                <c:pt idx="133">
                  <c:v>44448</c:v>
                </c:pt>
                <c:pt idx="134">
                  <c:v>44449</c:v>
                </c:pt>
                <c:pt idx="135">
                  <c:v>44450</c:v>
                </c:pt>
                <c:pt idx="136">
                  <c:v>44451</c:v>
                </c:pt>
                <c:pt idx="137">
                  <c:v>44452</c:v>
                </c:pt>
                <c:pt idx="138">
                  <c:v>44453</c:v>
                </c:pt>
                <c:pt idx="139">
                  <c:v>44454</c:v>
                </c:pt>
                <c:pt idx="140">
                  <c:v>44455</c:v>
                </c:pt>
                <c:pt idx="141">
                  <c:v>44456</c:v>
                </c:pt>
                <c:pt idx="142">
                  <c:v>44457</c:v>
                </c:pt>
                <c:pt idx="143">
                  <c:v>44458</c:v>
                </c:pt>
                <c:pt idx="144">
                  <c:v>44459</c:v>
                </c:pt>
                <c:pt idx="145">
                  <c:v>44460</c:v>
                </c:pt>
                <c:pt idx="146">
                  <c:v>44461</c:v>
                </c:pt>
                <c:pt idx="147">
                  <c:v>44462</c:v>
                </c:pt>
                <c:pt idx="148">
                  <c:v>44463</c:v>
                </c:pt>
                <c:pt idx="149">
                  <c:v>44464</c:v>
                </c:pt>
                <c:pt idx="150">
                  <c:v>44465</c:v>
                </c:pt>
                <c:pt idx="151">
                  <c:v>44466</c:v>
                </c:pt>
                <c:pt idx="152">
                  <c:v>44467</c:v>
                </c:pt>
                <c:pt idx="153">
                  <c:v>44468</c:v>
                </c:pt>
                <c:pt idx="154">
                  <c:v>44469</c:v>
                </c:pt>
                <c:pt idx="155">
                  <c:v>44470</c:v>
                </c:pt>
                <c:pt idx="156">
                  <c:v>44471</c:v>
                </c:pt>
                <c:pt idx="157">
                  <c:v>44472</c:v>
                </c:pt>
                <c:pt idx="158">
                  <c:v>44473</c:v>
                </c:pt>
                <c:pt idx="159">
                  <c:v>44474</c:v>
                </c:pt>
                <c:pt idx="160">
                  <c:v>44475</c:v>
                </c:pt>
                <c:pt idx="161">
                  <c:v>44476</c:v>
                </c:pt>
                <c:pt idx="162">
                  <c:v>44477</c:v>
                </c:pt>
                <c:pt idx="163">
                  <c:v>44478</c:v>
                </c:pt>
                <c:pt idx="164">
                  <c:v>44479</c:v>
                </c:pt>
                <c:pt idx="165">
                  <c:v>44480</c:v>
                </c:pt>
                <c:pt idx="166">
                  <c:v>44481</c:v>
                </c:pt>
                <c:pt idx="167">
                  <c:v>44482</c:v>
                </c:pt>
                <c:pt idx="168">
                  <c:v>44483</c:v>
                </c:pt>
                <c:pt idx="169">
                  <c:v>44484</c:v>
                </c:pt>
                <c:pt idx="170">
                  <c:v>44485</c:v>
                </c:pt>
                <c:pt idx="171">
                  <c:v>44486</c:v>
                </c:pt>
                <c:pt idx="172">
                  <c:v>44487</c:v>
                </c:pt>
                <c:pt idx="173">
                  <c:v>44488</c:v>
                </c:pt>
                <c:pt idx="174">
                  <c:v>44489</c:v>
                </c:pt>
                <c:pt idx="175">
                  <c:v>44490</c:v>
                </c:pt>
                <c:pt idx="176">
                  <c:v>44491</c:v>
                </c:pt>
                <c:pt idx="177">
                  <c:v>44492</c:v>
                </c:pt>
                <c:pt idx="178">
                  <c:v>44493</c:v>
                </c:pt>
                <c:pt idx="179">
                  <c:v>44494</c:v>
                </c:pt>
                <c:pt idx="180">
                  <c:v>44495</c:v>
                </c:pt>
                <c:pt idx="181">
                  <c:v>44496</c:v>
                </c:pt>
                <c:pt idx="182">
                  <c:v>44497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2</c:v>
                </c:pt>
                <c:pt idx="1">
                  <c:v>4</c:v>
                </c:pt>
                <c:pt idx="2">
                  <c:v>0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4</c:v>
                </c:pt>
                <c:pt idx="8">
                  <c:v>2</c:v>
                </c:pt>
                <c:pt idx="9">
                  <c:v>1</c:v>
                </c:pt>
                <c:pt idx="10">
                  <c:v>0</c:v>
                </c:pt>
                <c:pt idx="11">
                  <c:v>1</c:v>
                </c:pt>
                <c:pt idx="12">
                  <c:v>4</c:v>
                </c:pt>
                <c:pt idx="13">
                  <c:v>0</c:v>
                </c:pt>
                <c:pt idx="14">
                  <c:v>2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4</c:v>
                </c:pt>
                <c:pt idx="19">
                  <c:v>4</c:v>
                </c:pt>
                <c:pt idx="20">
                  <c:v>1</c:v>
                </c:pt>
                <c:pt idx="21">
                  <c:v>3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1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1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2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1</c:v>
                </c:pt>
                <c:pt idx="102">
                  <c:v>0</c:v>
                </c:pt>
                <c:pt idx="103">
                  <c:v>0</c:v>
                </c:pt>
                <c:pt idx="104">
                  <c:v>1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1</c:v>
                </c:pt>
                <c:pt idx="117">
                  <c:v>0</c:v>
                </c:pt>
                <c:pt idx="118">
                  <c:v>0</c:v>
                </c:pt>
                <c:pt idx="119">
                  <c:v>1</c:v>
                </c:pt>
                <c:pt idx="120">
                  <c:v>1</c:v>
                </c:pt>
                <c:pt idx="121">
                  <c:v>1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2</c:v>
                </c:pt>
                <c:pt idx="126">
                  <c:v>1</c:v>
                </c:pt>
                <c:pt idx="127">
                  <c:v>1</c:v>
                </c:pt>
                <c:pt idx="128">
                  <c:v>0</c:v>
                </c:pt>
                <c:pt idx="129">
                  <c:v>0</c:v>
                </c:pt>
                <c:pt idx="130">
                  <c:v>1</c:v>
                </c:pt>
                <c:pt idx="131">
                  <c:v>2</c:v>
                </c:pt>
                <c:pt idx="132">
                  <c:v>1</c:v>
                </c:pt>
                <c:pt idx="133">
                  <c:v>1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1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1</c:v>
                </c:pt>
                <c:pt idx="143">
                  <c:v>0</c:v>
                </c:pt>
                <c:pt idx="144">
                  <c:v>4</c:v>
                </c:pt>
                <c:pt idx="145">
                  <c:v>3</c:v>
                </c:pt>
                <c:pt idx="146">
                  <c:v>2</c:v>
                </c:pt>
                <c:pt idx="147">
                  <c:v>0</c:v>
                </c:pt>
                <c:pt idx="148">
                  <c:v>0</c:v>
                </c:pt>
                <c:pt idx="149">
                  <c:v>1</c:v>
                </c:pt>
                <c:pt idx="150">
                  <c:v>0</c:v>
                </c:pt>
                <c:pt idx="151">
                  <c:v>5</c:v>
                </c:pt>
                <c:pt idx="152">
                  <c:v>2</c:v>
                </c:pt>
                <c:pt idx="153">
                  <c:v>6</c:v>
                </c:pt>
                <c:pt idx="154">
                  <c:v>2</c:v>
                </c:pt>
                <c:pt idx="155">
                  <c:v>2</c:v>
                </c:pt>
                <c:pt idx="156">
                  <c:v>0</c:v>
                </c:pt>
                <c:pt idx="157">
                  <c:v>0</c:v>
                </c:pt>
                <c:pt idx="158">
                  <c:v>3</c:v>
                </c:pt>
                <c:pt idx="159">
                  <c:v>4</c:v>
                </c:pt>
                <c:pt idx="160" formatCode="General">
                  <c:v>2</c:v>
                </c:pt>
                <c:pt idx="161" formatCode="General">
                  <c:v>1</c:v>
                </c:pt>
                <c:pt idx="162" formatCode="General">
                  <c:v>1</c:v>
                </c:pt>
                <c:pt idx="163" formatCode="General">
                  <c:v>1</c:v>
                </c:pt>
                <c:pt idx="164" formatCode="General">
                  <c:v>0</c:v>
                </c:pt>
                <c:pt idx="165" formatCode="General">
                  <c:v>2</c:v>
                </c:pt>
                <c:pt idx="166" formatCode="General">
                  <c:v>3</c:v>
                </c:pt>
                <c:pt idx="167" formatCode="General">
                  <c:v>1</c:v>
                </c:pt>
                <c:pt idx="168" formatCode="General">
                  <c:v>3</c:v>
                </c:pt>
                <c:pt idx="169" formatCode="General">
                  <c:v>3</c:v>
                </c:pt>
                <c:pt idx="170" formatCode="General">
                  <c:v>3</c:v>
                </c:pt>
                <c:pt idx="171" formatCode="General">
                  <c:v>0</c:v>
                </c:pt>
                <c:pt idx="172" formatCode="General">
                  <c:v>8</c:v>
                </c:pt>
                <c:pt idx="173" formatCode="General">
                  <c:v>8</c:v>
                </c:pt>
                <c:pt idx="174" formatCode="General">
                  <c:v>12</c:v>
                </c:pt>
                <c:pt idx="175" formatCode="General">
                  <c:v>6</c:v>
                </c:pt>
                <c:pt idx="176" formatCode="General">
                  <c:v>8</c:v>
                </c:pt>
                <c:pt idx="177" formatCode="General">
                  <c:v>1</c:v>
                </c:pt>
                <c:pt idx="178" formatCode="General">
                  <c:v>2</c:v>
                </c:pt>
                <c:pt idx="179" formatCode="General">
                  <c:v>7</c:v>
                </c:pt>
                <c:pt idx="180" formatCode="General">
                  <c:v>12</c:v>
                </c:pt>
                <c:pt idx="181" formatCode="General">
                  <c:v>7</c:v>
                </c:pt>
                <c:pt idx="182" formatCode="General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985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73869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10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2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1.xml"/><Relationship Id="rId7" Type="http://schemas.openxmlformats.org/officeDocument/2006/relationships/chart" Target="../charts/chart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microsoft.com/office/2007/relationships/hdphoto" Target="../media/hdphoto1.wdp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10" Type="http://schemas.openxmlformats.org/officeDocument/2006/relationships/chart" Target="../charts/chart12.xml"/><Relationship Id="rId4" Type="http://schemas.openxmlformats.org/officeDocument/2006/relationships/tags" Target="../tags/tag19.xml"/><Relationship Id="rId9" Type="http://schemas.openxmlformats.org/officeDocument/2006/relationships/notesSlide" Target="../notesSlides/notesSlide2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5.xml"/><Relationship Id="rId7" Type="http://schemas.openxmlformats.org/officeDocument/2006/relationships/chart" Target="../charts/chart1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chart" Target="../charts/chart14.xml"/><Relationship Id="rId4" Type="http://schemas.openxmlformats.org/officeDocument/2006/relationships/tags" Target="../tags/tag33.xml"/><Relationship Id="rId9" Type="http://schemas.openxmlformats.org/officeDocument/2006/relationships/notesSlide" Target="../notesSlides/notesSlide2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9.xml"/><Relationship Id="rId7" Type="http://schemas.openxmlformats.org/officeDocument/2006/relationships/chart" Target="../charts/chart1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microsoft.com/office/2007/relationships/hdphoto" Target="../media/hdphoto1.wdp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chart" Target="../charts/chart16.xml"/><Relationship Id="rId4" Type="http://schemas.openxmlformats.org/officeDocument/2006/relationships/tags" Target="../tags/tag47.xml"/><Relationship Id="rId9" Type="http://schemas.openxmlformats.org/officeDocument/2006/relationships/notesSlide" Target="../notesSlides/notesSlide2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3.xml"/><Relationship Id="rId7" Type="http://schemas.openxmlformats.org/officeDocument/2006/relationships/chart" Target="../charts/chart1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microsoft.com/office/2007/relationships/hdphoto" Target="../media/hdphoto1.wdp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4" Type="http://schemas.openxmlformats.org/officeDocument/2006/relationships/chart" Target="../charts/char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chart" Target="../charts/chart1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chart" Target="../charts/char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hrnný přehled stavu očkování: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D1F8864-2A8C-4C20-AA65-EEC7409FD24C}"/>
              </a:ext>
            </a:extLst>
          </p:cNvPr>
          <p:cNvGraphicFramePr>
            <a:graphicFrameLocks noGrp="1"/>
          </p:cNvGraphicFramePr>
          <p:nvPr/>
        </p:nvGraphicFramePr>
        <p:xfrm>
          <a:off x="3787238" y="2005806"/>
          <a:ext cx="7347932" cy="3987120"/>
        </p:xfrm>
        <a:graphic>
          <a:graphicData uri="http://schemas.openxmlformats.org/drawingml/2006/table">
            <a:tbl>
              <a:tblPr/>
              <a:tblGrid>
                <a:gridCol w="1836983">
                  <a:extLst>
                    <a:ext uri="{9D8B030D-6E8A-4147-A177-3AD203B41FA5}">
                      <a16:colId xmlns:a16="http://schemas.microsoft.com/office/drawing/2014/main" val="613949910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1690110635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2491791174"/>
                    </a:ext>
                  </a:extLst>
                </a:gridCol>
                <a:gridCol w="1836983">
                  <a:extLst>
                    <a:ext uri="{9D8B030D-6E8A-4147-A177-3AD203B41FA5}">
                      <a16:colId xmlns:a16="http://schemas.microsoft.com/office/drawing/2014/main" val="1376653444"/>
                    </a:ext>
                  </a:extLst>
                </a:gridCol>
              </a:tblGrid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4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595298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940125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769644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9761850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652387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168491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021734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4369573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8048474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3244861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6335609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699784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764078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7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106316"/>
                  </a:ext>
                </a:extLst>
              </a:tr>
              <a:tr h="265808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2961773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5 / 6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5 / 3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8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58 / 9 / 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3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7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13 / 2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6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5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2 / 4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7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5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3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9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6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8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4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5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8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4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3 / 4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4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9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56 / 6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9 / 4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0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33 / 4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0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5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6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1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31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22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64 / 7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(56 / 19 / 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64 / 21 / 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 (98 / 2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6 (318 / 42 / 4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a 7denní období 22. 10. – 28. 10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61094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791199" y="102272"/>
            <a:ext cx="2305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0. 2021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6 % a sestry 79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737935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6030856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3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1535386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4069280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3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26. 10. 2021</a:t>
            </a:r>
          </a:p>
        </p:txBody>
      </p:sp>
    </p:spTree>
    <p:extLst>
      <p:ext uri="{BB962C8B-B14F-4D97-AF65-F5344CB8AC3E}">
        <p14:creationId xmlns:p14="http://schemas.microsoft.com/office/powerpoint/2010/main" val="4348278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76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10 / 2021 k 28. 10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 10. 2021</a:t>
            </a:r>
          </a:p>
        </p:txBody>
      </p:sp>
    </p:spTree>
    <p:extLst>
      <p:ext uri="{BB962C8B-B14F-4D97-AF65-F5344CB8AC3E}">
        <p14:creationId xmlns:p14="http://schemas.microsoft.com/office/powerpoint/2010/main" val="31679411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9-10 / 2021 k 28. 10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 10. 2021</a:t>
            </a:r>
          </a:p>
        </p:txBody>
      </p:sp>
    </p:spTree>
    <p:extLst>
      <p:ext uri="{BB962C8B-B14F-4D97-AF65-F5344CB8AC3E}">
        <p14:creationId xmlns:p14="http://schemas.microsoft.com/office/powerpoint/2010/main" val="19122688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6. 10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5992529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1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987FA74-52AA-4DFB-A2B1-7ACF1C4C23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446081"/>
              </p:ext>
            </p:extLst>
          </p:nvPr>
        </p:nvGraphicFramePr>
        <p:xfrm>
          <a:off x="1943099" y="1448593"/>
          <a:ext cx="9946013" cy="4689135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298303495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79889635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751709266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519134789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04083224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76751321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534474182"/>
                    </a:ext>
                  </a:extLst>
                </a:gridCol>
              </a:tblGrid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D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6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D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1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7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9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0401507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C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B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1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4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CC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8448865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8E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79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8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9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A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347597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A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8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8E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8E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06791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C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A9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6A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C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D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1000585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8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FC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4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665857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2A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9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2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24554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F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4B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DA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7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7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1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341447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2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48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89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D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19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E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D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314476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5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CC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CC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9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7A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3434628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9A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C9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9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9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6099596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D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88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C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B9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D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39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D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632702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9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09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3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C8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7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5330880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C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7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FA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E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9A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3590890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3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EA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4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1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2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10571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6. 10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0381984"/>
              </p:ext>
            </p:extLst>
          </p:nvPr>
        </p:nvGraphicFramePr>
        <p:xfrm>
          <a:off x="302889" y="921878"/>
          <a:ext cx="11586222" cy="5215857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499992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6522" marT="6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76 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2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2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6 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0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 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9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 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 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8 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 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9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6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 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 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 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 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 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4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 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1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7 (6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7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 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 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 (7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 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5 (6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1 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 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 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2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39 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31 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881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2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8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744 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92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429434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CED55C3-FF82-4865-8846-86E712558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3186603"/>
              </p:ext>
            </p:extLst>
          </p:nvPr>
        </p:nvGraphicFramePr>
        <p:xfrm>
          <a:off x="2633357" y="1286668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57630419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04956074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33026200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77424062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75796122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54558704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87845389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56299960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02646426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05383711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75313689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07954239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71027123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41675417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939257826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29929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48646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37438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2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353279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64043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4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411268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9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26918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570678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501909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4421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53133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26374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23502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6. 10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6303632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8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71A2039-3C88-4F8C-9EF8-ABA18398C1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4150670"/>
              </p:ext>
            </p:extLst>
          </p:nvPr>
        </p:nvGraphicFramePr>
        <p:xfrm>
          <a:off x="2633357" y="1286668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37458041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89435393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15623047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5268495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6112631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08025754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9535614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57231871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40168216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36891831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4360435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91675383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02622148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6393471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951721573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9562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051106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76565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32486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190189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12347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5908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027785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004265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9428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802058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37008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6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082254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2771013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7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9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84106919-22D4-457C-99C9-E31FF51544E0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6. 10. 2021</a:t>
            </a:r>
          </a:p>
        </p:txBody>
      </p:sp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25881" y="1293212"/>
            <a:ext cx="1109662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1. dávku vakcinace 86 % lékařů, 79 % sesterských povolání a 76 % ostatních zdravotnických povolání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270203" y="3009764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706342"/>
            <a:ext cx="1118940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 těchto profesních kategoriích podstatně snížilo denní počet registrovaných nových nákaz 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70203" y="5077313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D6ABE9F8-91A8-48CC-8B50-606B01ECEF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3872912"/>
              </p:ext>
            </p:extLst>
          </p:nvPr>
        </p:nvGraphicFramePr>
        <p:xfrm>
          <a:off x="2633357" y="1286668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420741673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81258782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59807125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82662737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64374485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22630353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21722475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49603229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73902436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41549850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24426779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12490424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86583911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07075001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632492749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98211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78987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987521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234420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37538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11651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444106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94411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82727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38115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47244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78714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0020207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8968540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4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5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75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B0F94392-FC1C-4255-BDF5-17C9BB30C09D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6. 10. 2021</a:t>
            </a:r>
          </a:p>
        </p:txBody>
      </p:sp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8. 10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 zařízeních sociálních služeb </a:t>
            </a:r>
            <a:br>
              <a:rPr lang="cs-CZ" dirty="0"/>
            </a:br>
            <a:r>
              <a:rPr lang="cs-CZ" dirty="0"/>
              <a:t>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418743" y="1222049"/>
          <a:ext cx="8511611" cy="5345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9162962" y="1301496"/>
          <a:ext cx="2326326" cy="4971720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153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970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7" name="TextovéPole 8">
            <a:extLst>
              <a:ext uri="{FF2B5EF4-FFF2-40B4-BE49-F238E27FC236}">
                <a16:creationId xmlns:a16="http://schemas.microsoft.com/office/drawing/2014/main" id="{FDEE6DA7-8A32-4466-8C48-3BA05FF3131A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</p:spTree>
    <p:extLst>
      <p:ext uri="{BB962C8B-B14F-4D97-AF65-F5344CB8AC3E}">
        <p14:creationId xmlns:p14="http://schemas.microsoft.com/office/powerpoint/2010/main" val="1879482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8. 10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589541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625767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s. očkování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564361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337509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9.–28. 9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9.–5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10.–12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10.–19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10.–26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66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0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6402FBAB-1696-47CF-97B3-031F1C769EF3}"/>
              </a:ext>
            </a:extLst>
          </p:cNvPr>
          <p:cNvCxnSpPr>
            <a:cxnSpLocks/>
          </p:cNvCxnSpPr>
          <p:nvPr/>
        </p:nvCxnSpPr>
        <p:spPr>
          <a:xfrm flipV="1">
            <a:off x="9700181" y="3271101"/>
            <a:ext cx="1781666" cy="1423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04371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060071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lékařů</a:t>
            </a:r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4BFAFEC2-6BD4-4A7C-A0E4-5CAF8FD2674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7265060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262595" y="1110693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ékaři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82641AFC-1605-4F41-BF39-23E7E7AF4C2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2940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</a:t>
            </a:r>
          </a:p>
        </p:txBody>
      </p:sp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5B858A71-F455-4EFE-BAA3-DB197B9A04C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5470502"/>
              </p:ext>
            </p:extLst>
          </p:nvPr>
        </p:nvGraphicFramePr>
        <p:xfrm>
          <a:off x="1666394" y="1344121"/>
          <a:ext cx="9468550" cy="3588188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9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1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405242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kařů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2E77DDCC-5A9B-4E8A-AA59-1BCBEE0EAFCD}"/>
              </a:ext>
            </a:extLst>
          </p:cNvPr>
          <p:cNvSpPr txBox="1"/>
          <p:nvPr/>
        </p:nvSpPr>
        <p:spPr>
          <a:xfrm>
            <a:off x="1590675" y="503565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/>
              <a:t>Stav k 26. 10. 2021</a:t>
            </a:r>
          </a:p>
        </p:txBody>
      </p:sp>
    </p:spTree>
    <p:extLst>
      <p:ext uri="{BB962C8B-B14F-4D97-AF65-F5344CB8AC3E}">
        <p14:creationId xmlns:p14="http://schemas.microsoft.com/office/powerpoint/2010/main" val="20804115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8218350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9599200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9.–28. 9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9.–5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10.–12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10.–19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10.–26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66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0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1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6402FBAB-1696-47CF-97B3-031F1C769EF3}"/>
              </a:ext>
            </a:extLst>
          </p:cNvPr>
          <p:cNvCxnSpPr>
            <a:cxnSpLocks/>
          </p:cNvCxnSpPr>
          <p:nvPr/>
        </p:nvCxnSpPr>
        <p:spPr>
          <a:xfrm flipV="1">
            <a:off x="9700181" y="3271101"/>
            <a:ext cx="1781666" cy="1423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58396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691878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sester</a:t>
            </a:r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4BFAFEC2-6BD4-4A7C-A0E4-5CAF8FD2674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4873414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564955" y="121546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try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D86CEB2-6B62-4921-BB74-B46CF4D5A22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7719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9184203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7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2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5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3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 9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4 3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7 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3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0. 2021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</a:t>
            </a:r>
          </a:p>
        </p:txBody>
      </p:sp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5B858A71-F455-4EFE-BAA3-DB197B9A04C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6346311"/>
              </p:ext>
            </p:extLst>
          </p:nvPr>
        </p:nvGraphicFramePr>
        <p:xfrm>
          <a:off x="1666394" y="1374105"/>
          <a:ext cx="9468550" cy="3588188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7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8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405242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sester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39B744CD-61A5-49E4-9ECB-AC2D929E5CE3}"/>
              </a:ext>
            </a:extLst>
          </p:cNvPr>
          <p:cNvSpPr txBox="1"/>
          <p:nvPr/>
        </p:nvSpPr>
        <p:spPr>
          <a:xfrm>
            <a:off x="1590675" y="503565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/>
              <a:t>Stav k 26. 10. 2021</a:t>
            </a:r>
          </a:p>
        </p:txBody>
      </p:sp>
    </p:spTree>
    <p:extLst>
      <p:ext uri="{BB962C8B-B14F-4D97-AF65-F5344CB8AC3E}">
        <p14:creationId xmlns:p14="http://schemas.microsoft.com/office/powerpoint/2010/main" val="9080675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062872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34671709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9.–28. 9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9.–5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10.–12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10.–19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10.–26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66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6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00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6402FBAB-1696-47CF-97B3-031F1C769EF3}"/>
              </a:ext>
            </a:extLst>
          </p:cNvPr>
          <p:cNvCxnSpPr>
            <a:cxnSpLocks/>
          </p:cNvCxnSpPr>
          <p:nvPr/>
        </p:nvCxnSpPr>
        <p:spPr>
          <a:xfrm flipV="1">
            <a:off x="9700181" y="3271101"/>
            <a:ext cx="1781666" cy="1423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25158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7971183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</a:t>
            </a:r>
            <a:br>
              <a:rPr lang="cs-CZ" dirty="0"/>
            </a:br>
            <a:r>
              <a:rPr lang="cs-CZ" dirty="0"/>
              <a:t>v populaci ostatní ZP</a:t>
            </a:r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4BFAFEC2-6BD4-4A7C-A0E4-5CAF8FD2674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80207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444630" y="127261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ZP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38602B0B-CEB9-4E9D-8C0C-ACF8FD6CEBD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319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</a:t>
            </a:r>
          </a:p>
        </p:txBody>
      </p:sp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5B858A71-F455-4EFE-BAA3-DB197B9A04C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255559"/>
              </p:ext>
            </p:extLst>
          </p:nvPr>
        </p:nvGraphicFramePr>
        <p:xfrm>
          <a:off x="1666394" y="1329134"/>
          <a:ext cx="9468550" cy="3588188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7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8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405242"/>
            <a:ext cx="43325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ostatních ZP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E048D291-A402-47D2-B832-63BFB0D9C5D9}"/>
              </a:ext>
            </a:extLst>
          </p:cNvPr>
          <p:cNvSpPr txBox="1"/>
          <p:nvPr/>
        </p:nvSpPr>
        <p:spPr>
          <a:xfrm>
            <a:off x="1590675" y="503565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/>
              <a:t>Stav k 26. 10. 2021</a:t>
            </a:r>
          </a:p>
        </p:txBody>
      </p:sp>
    </p:spTree>
    <p:extLst>
      <p:ext uri="{BB962C8B-B14F-4D97-AF65-F5344CB8AC3E}">
        <p14:creationId xmlns:p14="http://schemas.microsoft.com/office/powerpoint/2010/main" val="712869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0607562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19820819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9.–28. 9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9.–5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10.–12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10.–19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10.–26. 10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3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6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6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96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6402FBAB-1696-47CF-97B3-031F1C769EF3}"/>
              </a:ext>
            </a:extLst>
          </p:cNvPr>
          <p:cNvCxnSpPr>
            <a:cxnSpLocks/>
          </p:cNvCxnSpPr>
          <p:nvPr/>
        </p:nvCxnSpPr>
        <p:spPr>
          <a:xfrm flipV="1">
            <a:off x="9700181" y="3271101"/>
            <a:ext cx="1781666" cy="1423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078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4BFAFEC2-6BD4-4A7C-A0E4-5CAF8FD2674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5825031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88805" y="1376200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  <p:graphicFrame>
        <p:nvGraphicFramePr>
          <p:cNvPr id="14" name="Tabulka 6">
            <a:extLst>
              <a:ext uri="{FF2B5EF4-FFF2-40B4-BE49-F238E27FC236}">
                <a16:creationId xmlns:a16="http://schemas.microsoft.com/office/drawing/2014/main" id="{2437943F-BD8E-4C02-97C2-1582C83DCB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846924" y="1020334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1F87F473-CBAF-415A-B69A-D06AAEB5FED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 flipV="1">
            <a:off x="8112043" y="1418957"/>
            <a:ext cx="917518" cy="108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08671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</a:t>
            </a:r>
          </a:p>
        </p:txBody>
      </p:sp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5B858A71-F455-4EFE-BAA3-DB197B9A04C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3695939"/>
              </p:ext>
            </p:extLst>
          </p:nvPr>
        </p:nvGraphicFramePr>
        <p:xfrm>
          <a:off x="1666394" y="1362253"/>
          <a:ext cx="9468550" cy="3588188"/>
        </p:xfrm>
        <a:graphic>
          <a:graphicData uri="http://schemas.openxmlformats.org/drawingml/2006/table">
            <a:tbl>
              <a:tblPr/>
              <a:tblGrid>
                <a:gridCol w="1814911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8431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2238871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3176337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 a bez do</a:t>
                      </a:r>
                      <a:r>
                        <a:rPr lang="en-US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n</a:t>
                      </a:r>
                      <a:r>
                        <a:rPr lang="cs-CZ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ného</a:t>
                      </a:r>
                      <a:r>
                        <a:rPr lang="cs-CZ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nákaz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0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6.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405242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214E73F0-D095-4EF7-9AF5-3F0984D5D883}"/>
              </a:ext>
            </a:extLst>
          </p:cNvPr>
          <p:cNvSpPr txBox="1"/>
          <p:nvPr/>
        </p:nvSpPr>
        <p:spPr>
          <a:xfrm>
            <a:off x="1590675" y="503565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/>
              <a:t>Stav k 26. 10. 2021</a:t>
            </a:r>
          </a:p>
        </p:txBody>
      </p:sp>
    </p:spTree>
    <p:extLst>
      <p:ext uri="{BB962C8B-B14F-4D97-AF65-F5344CB8AC3E}">
        <p14:creationId xmlns:p14="http://schemas.microsoft.com/office/powerpoint/2010/main" val="306393715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3997054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</a:t>
            </a:r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(suma za hodnocený časový úsek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2244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</a:t>
            </a:r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(suma za hodnocený časový úsek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90938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193538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496578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 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5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 9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7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27606222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6. 10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815018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0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7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3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3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7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7 6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6 8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9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26. 10. 2021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4567601D-A50C-4550-904F-A1C3633503D3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3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 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6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6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0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5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</p:spTree>
    <p:extLst>
      <p:ext uri="{BB962C8B-B14F-4D97-AF65-F5344CB8AC3E}">
        <p14:creationId xmlns:p14="http://schemas.microsoft.com/office/powerpoint/2010/main" val="2271652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8. 10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8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1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5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7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17023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15330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 denní klouzavý průměr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19976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92063" y="2212046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227151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8. 10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5154086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46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115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4C26CA30-0E7D-4693-8539-F49056778677}"/>
              </a:ext>
            </a:extLst>
          </p:cNvPr>
          <p:cNvGraphicFramePr>
            <a:graphicFrameLocks noGrp="1"/>
          </p:cNvGraphicFramePr>
          <p:nvPr/>
        </p:nvGraphicFramePr>
        <p:xfrm>
          <a:off x="2343149" y="2272506"/>
          <a:ext cx="9275460" cy="3618810"/>
        </p:xfrm>
        <a:graphic>
          <a:graphicData uri="http://schemas.openxmlformats.org/drawingml/2006/table">
            <a:tbl>
              <a:tblPr/>
              <a:tblGrid>
                <a:gridCol w="772955">
                  <a:extLst>
                    <a:ext uri="{9D8B030D-6E8A-4147-A177-3AD203B41FA5}">
                      <a16:colId xmlns:a16="http://schemas.microsoft.com/office/drawing/2014/main" val="3443162899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719256263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46630296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566626561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115806292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4220382334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468386717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258460914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852138940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396414985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827635068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4167838918"/>
                    </a:ext>
                  </a:extLst>
                </a:gridCol>
              </a:tblGrid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1580576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890962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219568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6350166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5643882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223227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9278054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1897668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1110397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5763663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4180714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4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032293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736754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1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E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9163167"/>
                  </a:ext>
                </a:extLst>
              </a:tr>
              <a:tr h="241254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6596287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28. 10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ýkaz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 (MZ) 2-01, E (MZ) 3-01 a E (MZ) 4-01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26029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02</TotalTime>
  <Words>8590</Words>
  <Application>Microsoft Office PowerPoint</Application>
  <PresentationFormat>Širokoúhlá obrazovka</PresentationFormat>
  <Paragraphs>2026</Paragraphs>
  <Slides>39</Slides>
  <Notes>25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39</vt:i4>
      </vt:variant>
    </vt:vector>
  </HeadingPairs>
  <TitlesOfParts>
    <vt:vector size="45" baseType="lpstr">
      <vt:lpstr>Calibri</vt:lpstr>
      <vt:lpstr>Arial</vt:lpstr>
      <vt:lpstr>Calibri Light</vt:lpstr>
      <vt:lpstr>Motiv Office</vt:lpstr>
      <vt:lpstr>3_Motiv Office</vt:lpstr>
      <vt:lpstr>1_Motiv Office</vt:lpstr>
      <vt:lpstr>Prezentace aplikace PowerPoint</vt:lpstr>
      <vt:lpstr>Očkování zdravotnických pracovníků </vt:lpstr>
      <vt:lpstr>Očkovaní zdravotničtí pracovníci celkem</vt:lpstr>
      <vt:lpstr>Očkování zdravotnických pracovníků – počty očkovaných v čase</vt:lpstr>
      <vt:lpstr>Očkovaní aktivní zdravotničtí pracovníci</vt:lpstr>
      <vt:lpstr>Vakcinace posilující dávkou</vt:lpstr>
      <vt:lpstr>Počty pracovníků ve zdravotnictví s nákazou COVID-19</vt:lpstr>
      <vt:lpstr>Počty pracovníků ve zdravotnictví s nákazou COVID-19</vt:lpstr>
      <vt:lpstr>Počty pracovníků ve zdravotnictví s nákazou COVID-19</vt:lpstr>
      <vt:lpstr>Počty pracovníků ve zdravotnictví (ZP) s nákazou COVID-19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10 / 2021 k 28. 10.</vt:lpstr>
      <vt:lpstr>Přehled povolání u COVID-19 pozitivních ostatních zdravotnických pracovníků za období 09-10 / 2021 k 28. 10.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 zařízeních sociálních služeb  s nákazou COVID-19</vt:lpstr>
      <vt:lpstr>Počty nově COVID-19 pozitivních pracovníků  v zařízeních sociálních služeb</vt:lpstr>
      <vt:lpstr>Prezentace aplikace PowerPoint</vt:lpstr>
      <vt:lpstr>Prezentace aplikace PowerPoint</vt:lpstr>
      <vt:lpstr>Počet nových případů COVID-19 na 100 tis. dané kategorie v populaci lékařů</vt:lpstr>
      <vt:lpstr>Prezentace aplikace PowerPoint</vt:lpstr>
      <vt:lpstr>Prezentace aplikace PowerPoint</vt:lpstr>
      <vt:lpstr>Počet nových případů COVID-19 na 100 tis. dané kategorie v populaci sester</vt:lpstr>
      <vt:lpstr>Prezentace aplikace PowerPoint</vt:lpstr>
      <vt:lpstr>Prezentace aplikace PowerPoint</vt:lpstr>
      <vt:lpstr>Počet nových případů COVID-19 na 100 tis. dané kategorie  v populaci ostatní ZP</vt:lpstr>
      <vt:lpstr>Prezentace aplikace PowerPoint</vt:lpstr>
      <vt:lpstr>Prezentace aplikace PowerPoint</vt:lpstr>
      <vt:lpstr>Počet nových případů COVID-19 na 100 tis. dané kategorie v populaci ZP celkem </vt:lpstr>
      <vt:lpstr>Prezentace aplikace PowerPoint</vt:lpstr>
      <vt:lpstr>Počty COVID-19 pozitivních na 100 000 osob v populaci lékařů</vt:lpstr>
      <vt:lpstr>Počty COVID-19 pozitivních na 100 000 osob v populaci sester</vt:lpstr>
      <vt:lpstr>Počty COVID-19 pozitivních na 100 000 osob v populaci ostatních Z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761</cp:revision>
  <dcterms:created xsi:type="dcterms:W3CDTF">2020-11-11T17:36:28Z</dcterms:created>
  <dcterms:modified xsi:type="dcterms:W3CDTF">2021-10-30T09:52:19Z</dcterms:modified>
</cp:coreProperties>
</file>